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13" r:id="rId2"/>
  </p:sldMasterIdLst>
  <p:notesMasterIdLst>
    <p:notesMasterId r:id="rId21"/>
  </p:notesMasterIdLst>
  <p:handoutMasterIdLst>
    <p:handoutMasterId r:id="rId22"/>
  </p:handoutMasterIdLst>
  <p:sldIdLst>
    <p:sldId id="2706" r:id="rId3"/>
    <p:sldId id="2926" r:id="rId4"/>
    <p:sldId id="2910" r:id="rId5"/>
    <p:sldId id="2911" r:id="rId6"/>
    <p:sldId id="2913" r:id="rId7"/>
    <p:sldId id="2924" r:id="rId8"/>
    <p:sldId id="2912" r:id="rId9"/>
    <p:sldId id="2915" r:id="rId10"/>
    <p:sldId id="2925" r:id="rId11"/>
    <p:sldId id="2914" r:id="rId12"/>
    <p:sldId id="2916" r:id="rId13"/>
    <p:sldId id="2917" r:id="rId14"/>
    <p:sldId id="2918" r:id="rId15"/>
    <p:sldId id="2919" r:id="rId16"/>
    <p:sldId id="2920" r:id="rId17"/>
    <p:sldId id="2921" r:id="rId18"/>
    <p:sldId id="2922" r:id="rId19"/>
    <p:sldId id="2923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  <a:srgbClr val="D883FF"/>
    <a:srgbClr val="9437FF"/>
    <a:srgbClr val="7030A0"/>
    <a:srgbClr val="000000"/>
    <a:srgbClr val="3E494F"/>
    <a:srgbClr val="E6CEB0"/>
    <a:srgbClr val="990099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05" autoAdjust="0"/>
    <p:restoredTop sz="95273" autoAdjust="0"/>
  </p:normalViewPr>
  <p:slideViewPr>
    <p:cSldViewPr snapToGrid="0">
      <p:cViewPr varScale="1">
        <p:scale>
          <a:sx n="81" d="100"/>
          <a:sy n="81" d="100"/>
        </p:scale>
        <p:origin x="-552" y="-96"/>
      </p:cViewPr>
      <p:guideLst>
        <p:guide orient="horz" pos="2160"/>
        <p:guide orient="horz" pos="4122"/>
        <p:guide pos="123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9/2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9/24/20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if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09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F4BA88A6-C9F3-4FD3-B2BA-C7C93EFBCA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4000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9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21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23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6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8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31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46E56B7-32CC-4EEC-B6E5-EDEDA87773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6552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33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35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38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40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0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62A0DD45-B9F1-4B0F-953D-6E163A66F5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63127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43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45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47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0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52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81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:a16="http://schemas.microsoft.com/office/drawing/2014/main" xmlns="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838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:a16="http://schemas.microsoft.com/office/drawing/2014/main" xmlns="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75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xmlns="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 xmlns="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06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045461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BA753-E862-4BA0-B09C-B597C631453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07D641-61F0-4996-8955-6938FF28D2C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4748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:a16="http://schemas.microsoft.com/office/drawing/2014/main" xmlns="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AB3B65-36DB-402B-A099-65D35BD7D3B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9D63A-94F4-4B1B-BCB2-74F1AD14AE1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3896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960B4-0C67-4F32-A6A8-4A2318F5802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E2BD1-F54C-4ACF-A102-22A87E97E96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1823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21719A-A5D5-46D3-BB48-0CC85E9980D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5D8F7-77D4-4B50-8EBD-BF336CCA68A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638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EE6AB6-27FE-424E-B936-94AD90F26F1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1B5686-8336-4AAA-B78C-C5F239FF62A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1369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49A1D1-D1B7-4D7B-836C-94F78145617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78A0D3-4531-4EBE-B6FD-44C5F97E837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6038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9A20D-BD94-4C9C-8D3E-D2D78C0ADAE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A82B4-78D8-4ABF-A002-1CFED13368F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1177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FFF5A0-F389-446C-A169-AEA701E505E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8D54A7-6575-44B4-8E95-FB07B688CF6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8614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206E72-7198-4CC8-BBD4-6CE7766FFB5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735835-9EF9-48F3-9DFF-92A309088A2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7187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CBD9F-A15A-46EF-B760-BD3371E94D4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15FAEC-67F8-4BE5-B707-C735C7F7448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9614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0B6F39-0089-4296-9C17-CE534FAFE30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486011-B941-47DD-9003-D644399FF36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85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5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8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11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xmlns="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14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16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40" name="Слайд think-cell" r:id="rId33" imgW="359" imgH="358" progId="TCLayout.ActiveDocument.1">
                  <p:embed/>
                </p:oleObj>
              </mc:Choice>
              <mc:Fallback>
                <p:oleObj name="Слайд think-cell" r:id="rId3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4526BEB8-B332-4D0F-B3E2-D415BBE7C5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08" r:id="rId28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7C74A8C-8390-4719-9F7A-1B57C44E717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.09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B8B79B4-AA63-4081-A2ED-D8B8DD9C975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98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6.png"/><Relationship Id="rId4" Type="http://schemas.openxmlformats.org/officeDocument/2006/relationships/tags" Target="../tags/tag61.xml"/><Relationship Id="rId9" Type="http://schemas.openxmlformats.org/officeDocument/2006/relationships/hyperlink" Target="https://idea.asi.ru/improject-46/ideas/2646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&#1096;&#1082;&#1086;&#1083;&#1072;&#1085;&#1072;&#1089;&#1090;&#1072;&#1074;&#1085;&#1080;&#1082;&#1086;&#1074;.&#1088;&#1092;/" TargetMode="Externa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2.xml"/><Relationship Id="rId11" Type="http://schemas.microsoft.com/office/2007/relationships/hdphoto" Target="../media/hdphoto1.wdp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6.png"/><Relationship Id="rId4" Type="http://schemas.openxmlformats.org/officeDocument/2006/relationships/tags" Target="../tags/tag64.xml"/><Relationship Id="rId9" Type="http://schemas.openxmlformats.org/officeDocument/2006/relationships/hyperlink" Target="https://idea.asi.ru/improject-46/ideas/2646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fond-edu.ru/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15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BB006EC-8CB9-4023-B6DD-D9B014C0C545}"/>
              </a:ext>
            </a:extLst>
          </p:cNvPr>
          <p:cNvSpPr>
            <a:spLocks/>
          </p:cNvSpPr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1124208"/>
            <a:ext cx="5217317" cy="4736681"/>
          </a:xfrm>
        </p:spPr>
        <p:txBody>
          <a:bodyPr anchor="t" anchorCtr="0"/>
          <a:lstStyle/>
          <a:p>
            <a:r>
              <a:rPr lang="ru-RU" dirty="0" smtClean="0">
                <a:solidFill>
                  <a:schemeClr val="bg1"/>
                </a:solidFill>
              </a:rPr>
              <a:t>Паспорт проекта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«Межрегиональная Школа наставников научно-исследовательской деятельности школьников</a:t>
            </a:r>
            <a:r>
              <a:rPr lang="ru-RU" dirty="0" smtClean="0">
                <a:solidFill>
                  <a:schemeClr val="bg1"/>
                </a:solidFill>
              </a:rPr>
              <a:t>»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r>
              <a:rPr lang="en-US" sz="2200" dirty="0">
                <a:solidFill>
                  <a:srgbClr val="00B050"/>
                </a:solidFill>
                <a:hlinkClick r:id="rId9"/>
              </a:rPr>
              <a:t>https://</a:t>
            </a:r>
            <a:r>
              <a:rPr lang="en-US" sz="2200" dirty="0" smtClean="0">
                <a:solidFill>
                  <a:srgbClr val="00B050"/>
                </a:solidFill>
                <a:hlinkClick r:id="rId9"/>
              </a:rPr>
              <a:t>idea.asi.ru/improject-46/ideas/2646</a:t>
            </a:r>
            <a:r>
              <a:rPr lang="ru-RU" sz="2200" dirty="0" smtClean="0">
                <a:solidFill>
                  <a:srgbClr val="00B050"/>
                </a:solidFill>
              </a:rPr>
              <a:t> </a:t>
            </a:r>
            <a:endParaRPr lang="ru-RU" sz="2200" dirty="0">
              <a:solidFill>
                <a:srgbClr val="00B050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Picture 22">
            <a:extLst>
              <a:ext uri="{FF2B5EF4-FFF2-40B4-BE49-F238E27FC236}">
                <a16:creationId xmlns:a16="http://schemas.microsoft.com/office/drawing/2014/main" xmlns="" id="{16AC62CF-A080-4F12-9D6D-1252157052A2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 rotWithShape="1">
          <a:blip r:embed="rId10" cstate="print">
            <a:lum bright="10000" contrast="1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6393" r="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75240"/>
            <a:ext cx="11252200" cy="4068763"/>
          </a:xfrm>
        </p:spPr>
        <p:txBody>
          <a:bodyPr/>
          <a:lstStyle/>
          <a:p>
            <a:r>
              <a:rPr lang="ru-RU" dirty="0" smtClean="0"/>
              <a:t>Впервые будут объединены «Ресурсные состояния», «способы мышления» и «ценности наставника» и </a:t>
            </a:r>
            <a:r>
              <a:rPr lang="ru-RU" b="1" dirty="0" smtClean="0"/>
              <a:t>4 вида компетенций</a:t>
            </a:r>
            <a:r>
              <a:rPr lang="ru-RU" dirty="0" smtClean="0"/>
              <a:t>:</a:t>
            </a:r>
          </a:p>
          <a:p>
            <a:pPr lvl="1"/>
            <a:r>
              <a:rPr lang="ru-RU" dirty="0" smtClean="0"/>
              <a:t>Педагогические</a:t>
            </a:r>
          </a:p>
          <a:p>
            <a:pPr lvl="1"/>
            <a:r>
              <a:rPr lang="ru-RU" dirty="0" smtClean="0"/>
              <a:t>Психологические </a:t>
            </a:r>
          </a:p>
          <a:p>
            <a:pPr lvl="1"/>
            <a:r>
              <a:rPr lang="ru-RU" dirty="0" smtClean="0"/>
              <a:t>Проектные</a:t>
            </a:r>
          </a:p>
          <a:p>
            <a:pPr lvl="1"/>
            <a:r>
              <a:rPr lang="ru-RU" dirty="0" smtClean="0"/>
              <a:t>Предметные</a:t>
            </a:r>
          </a:p>
          <a:p>
            <a:r>
              <a:rPr lang="ru-RU" dirty="0" smtClean="0"/>
              <a:t>Для ускорения обучения будут применены </a:t>
            </a:r>
            <a:r>
              <a:rPr lang="ru-RU" b="1" dirty="0" smtClean="0"/>
              <a:t>технологии тестирования</a:t>
            </a:r>
            <a:r>
              <a:rPr lang="ru-RU" dirty="0" smtClean="0"/>
              <a:t> </a:t>
            </a:r>
            <a:r>
              <a:rPr lang="ru-RU" dirty="0" smtClean="0"/>
              <a:t>компетенций</a:t>
            </a:r>
            <a:r>
              <a:rPr lang="ru-RU" dirty="0" smtClean="0"/>
              <a:t>, и, затем, будет </a:t>
            </a:r>
            <a:r>
              <a:rPr lang="ru-RU" dirty="0"/>
              <a:t>даваться не весь </a:t>
            </a:r>
            <a:r>
              <a:rPr lang="ru-RU" dirty="0" smtClean="0"/>
              <a:t>курс, а </a:t>
            </a:r>
            <a:r>
              <a:rPr lang="ru-RU" dirty="0"/>
              <a:t>только </a:t>
            </a:r>
            <a:r>
              <a:rPr lang="ru-RU" dirty="0" smtClean="0"/>
              <a:t>недостающие компетенции</a:t>
            </a:r>
          </a:p>
          <a:p>
            <a:r>
              <a:rPr lang="ru-RU" dirty="0" smtClean="0"/>
              <a:t>Обучение наставников будет проводиться также с применением технологий наставничества</a:t>
            </a:r>
          </a:p>
          <a:p>
            <a:r>
              <a:rPr lang="ru-RU" dirty="0" smtClean="0"/>
              <a:t>Будет создана </a:t>
            </a:r>
            <a:r>
              <a:rPr lang="ru-RU" b="1" dirty="0" smtClean="0"/>
              <a:t>ступенчатая система</a:t>
            </a:r>
            <a:r>
              <a:rPr lang="ru-RU" dirty="0" smtClean="0"/>
              <a:t> наставничества «школьник-студент-научный сотрудник»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498598"/>
          </a:xfrm>
        </p:spPr>
        <p:txBody>
          <a:bodyPr/>
          <a:lstStyle/>
          <a:p>
            <a:r>
              <a:rPr lang="ru-RU" sz="3600" b="1" dirty="0">
                <a:solidFill>
                  <a:srgbClr val="00B050"/>
                </a:solidFill>
              </a:rPr>
              <a:t>Новизна иде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4079388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98686"/>
            <a:ext cx="11252200" cy="4068763"/>
          </a:xfrm>
        </p:spPr>
        <p:txBody>
          <a:bodyPr/>
          <a:lstStyle/>
          <a:p>
            <a:r>
              <a:rPr lang="ru-RU" sz="2700" dirty="0" smtClean="0"/>
              <a:t>Модель обучения наставников создана и прошла </a:t>
            </a:r>
            <a:r>
              <a:rPr lang="ru-RU" sz="2700" dirty="0"/>
              <a:t>апробацию (880 </a:t>
            </a:r>
            <a:r>
              <a:rPr lang="ru-RU" sz="2700" dirty="0" smtClean="0"/>
              <a:t>человек </a:t>
            </a:r>
            <a:r>
              <a:rPr lang="ru-RU" sz="2700" dirty="0"/>
              <a:t>приняли участие, 84 </a:t>
            </a:r>
            <a:r>
              <a:rPr lang="ru-RU" sz="2700" dirty="0" smtClean="0"/>
              <a:t>наставника прошли обучение, 68 </a:t>
            </a:r>
            <a:r>
              <a:rPr lang="ru-RU" sz="2700" dirty="0"/>
              <a:t>презентаций </a:t>
            </a:r>
            <a:r>
              <a:rPr lang="ru-RU" sz="2700" dirty="0" smtClean="0"/>
              <a:t>проектов на конференциях). </a:t>
            </a:r>
          </a:p>
          <a:p>
            <a:r>
              <a:rPr lang="ru-RU" sz="2700" dirty="0"/>
              <a:t>Сформирована </a:t>
            </a:r>
            <a:r>
              <a:rPr lang="ru-RU" sz="2700" dirty="0" smtClean="0"/>
              <a:t>система масштабирования </a:t>
            </a:r>
            <a:r>
              <a:rPr lang="ru-RU" sz="2700" dirty="0"/>
              <a:t>подготовки наставников научно-исследовательской деятельности школьников</a:t>
            </a:r>
          </a:p>
          <a:p>
            <a:r>
              <a:rPr lang="ru-RU" sz="2700" dirty="0"/>
              <a:t>Сформирован тиражируемый </a:t>
            </a:r>
            <a:r>
              <a:rPr lang="ru-RU" sz="2700" dirty="0" smtClean="0"/>
              <a:t>механизм постановки </a:t>
            </a:r>
            <a:r>
              <a:rPr lang="ru-RU" sz="2700" dirty="0"/>
              <a:t>практических научных задач перед школьниками в формате "гражданской науки</a:t>
            </a:r>
            <a:r>
              <a:rPr lang="ru-RU" sz="2700" dirty="0" smtClean="0"/>
              <a:t>"</a:t>
            </a:r>
            <a:endParaRPr lang="ru-RU" sz="2700" dirty="0"/>
          </a:p>
          <a:p>
            <a:r>
              <a:rPr lang="ru-RU" sz="2700" dirty="0"/>
              <a:t>Организован процесс формирования детско-взрослого научного сообщества и  интеграции в него школьников, педагогов, ученых, специалистов высокотехнологичных </a:t>
            </a:r>
            <a:r>
              <a:rPr lang="ru-RU" sz="2700" dirty="0" smtClean="0"/>
              <a:t>компаний</a:t>
            </a:r>
          </a:p>
          <a:p>
            <a:r>
              <a:rPr lang="ru-RU" sz="2700" b="1" dirty="0" smtClean="0"/>
              <a:t>Получен Президентский грант</a:t>
            </a:r>
            <a:r>
              <a:rPr lang="ru-RU" sz="2700" dirty="0" smtClean="0"/>
              <a:t> на масштабирование методики в 5-ти регионах России</a:t>
            </a:r>
            <a:endParaRPr lang="ru-RU" sz="27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3600" b="1" dirty="0">
                <a:solidFill>
                  <a:srgbClr val="00B050"/>
                </a:solidFill>
              </a:rPr>
              <a:t>Текущая стадия зрелости </a:t>
            </a: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98686"/>
            <a:ext cx="11252200" cy="4068763"/>
          </a:xfrm>
        </p:spPr>
        <p:txBody>
          <a:bodyPr/>
          <a:lstStyle/>
          <a:p>
            <a:r>
              <a:rPr lang="ru-RU" b="1" dirty="0" smtClean="0"/>
              <a:t>Заказчик</a:t>
            </a:r>
            <a:r>
              <a:rPr lang="ru-RU" dirty="0" smtClean="0"/>
              <a:t> – </a:t>
            </a:r>
            <a:r>
              <a:rPr lang="ru-RU" dirty="0" err="1" smtClean="0"/>
              <a:t>нац.проект</a:t>
            </a:r>
            <a:r>
              <a:rPr lang="ru-RU" dirty="0"/>
              <a:t> </a:t>
            </a:r>
            <a:r>
              <a:rPr lang="ru-RU" dirty="0" smtClean="0"/>
              <a:t>«Образование» в котором одна из ключевых ролей отведена развитию наставничества</a:t>
            </a:r>
          </a:p>
          <a:p>
            <a:r>
              <a:rPr lang="ru-RU" b="1" dirty="0" smtClean="0"/>
              <a:t>Пользователи</a:t>
            </a:r>
            <a:r>
              <a:rPr lang="ru-RU" dirty="0" smtClean="0"/>
              <a:t> проекта: школьники, студенты, предприниматели, родители, учителя, инвесторы</a:t>
            </a:r>
          </a:p>
          <a:p>
            <a:r>
              <a:rPr lang="ru-RU" b="1" dirty="0" smtClean="0"/>
              <a:t>Держатель</a:t>
            </a:r>
            <a:r>
              <a:rPr lang="ru-RU" dirty="0" smtClean="0"/>
              <a:t> бюджета и руководитель проекта – Васенёв Александр Валерьевич – один из автором методики и Директор Фонда «Образование»</a:t>
            </a:r>
          </a:p>
          <a:p>
            <a:r>
              <a:rPr lang="ru-RU" b="1" dirty="0" smtClean="0"/>
              <a:t>Прочие</a:t>
            </a:r>
            <a:r>
              <a:rPr lang="ru-RU" dirty="0" smtClean="0"/>
              <a:t> заинтересованные стороны:</a:t>
            </a:r>
          </a:p>
          <a:p>
            <a:pPr lvl="1"/>
            <a:r>
              <a:rPr lang="ru-RU" dirty="0" smtClean="0"/>
              <a:t>Технопарк Новосибирского Академгородка</a:t>
            </a:r>
          </a:p>
          <a:p>
            <a:pPr lvl="1"/>
            <a:r>
              <a:rPr lang="ru-RU" dirty="0" smtClean="0"/>
              <a:t>Региональный </a:t>
            </a:r>
            <a:r>
              <a:rPr lang="ru-RU" dirty="0"/>
              <a:t>центр выявления, поддержки и развития способностей и талантов у детей и молодежи «Альтаир»</a:t>
            </a:r>
            <a:endParaRPr lang="ru-RU" dirty="0" smtClean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7948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b="1" dirty="0">
                <a:solidFill>
                  <a:srgbClr val="00B050"/>
                </a:solidFill>
              </a:rPr>
              <a:t>Матрица ролей и ключевых участников </a:t>
            </a:r>
          </a:p>
        </p:txBody>
      </p:sp>
    </p:spTree>
    <p:extLst>
      <p:ext uri="{BB962C8B-B14F-4D97-AF65-F5344CB8AC3E}">
        <p14:creationId xmlns:p14="http://schemas.microsoft.com/office/powerpoint/2010/main" val="211173061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86963"/>
            <a:ext cx="11252200" cy="4068763"/>
          </a:xfrm>
        </p:spPr>
        <p:txBody>
          <a:bodyPr/>
          <a:lstStyle/>
          <a:p>
            <a:r>
              <a:rPr lang="ru-RU" dirty="0" smtClean="0"/>
              <a:t>До 31.12.2020г. – доработка методики и старт подготовки наставников в 6-ти регионах по 5-ти сетевым проектам:</a:t>
            </a:r>
          </a:p>
          <a:p>
            <a:pPr lvl="1"/>
            <a:r>
              <a:rPr lang="ru-RU" dirty="0"/>
              <a:t>Охотники за микробами, </a:t>
            </a:r>
            <a:endParaRPr lang="ru-RU" dirty="0" smtClean="0"/>
          </a:p>
          <a:p>
            <a:pPr lvl="1"/>
            <a:r>
              <a:rPr lang="ru-RU" dirty="0" smtClean="0"/>
              <a:t>Рули </a:t>
            </a:r>
            <a:r>
              <a:rPr lang="ru-RU" dirty="0"/>
              <a:t>фотоном, </a:t>
            </a:r>
            <a:endParaRPr lang="ru-RU" dirty="0" smtClean="0"/>
          </a:p>
          <a:p>
            <a:pPr lvl="1"/>
            <a:r>
              <a:rPr lang="ru-RU" dirty="0" smtClean="0"/>
              <a:t>Память </a:t>
            </a:r>
            <a:r>
              <a:rPr lang="ru-RU" dirty="0"/>
              <a:t>локальных сообществ,  </a:t>
            </a:r>
            <a:endParaRPr lang="ru-RU" dirty="0" smtClean="0"/>
          </a:p>
          <a:p>
            <a:pPr lvl="1"/>
            <a:r>
              <a:rPr lang="ru-RU" dirty="0" smtClean="0"/>
              <a:t>Внимание </a:t>
            </a:r>
            <a:r>
              <a:rPr lang="ru-RU" dirty="0"/>
              <a:t>- на старт, </a:t>
            </a:r>
            <a:endParaRPr lang="ru-RU" dirty="0" smtClean="0"/>
          </a:p>
          <a:p>
            <a:pPr lvl="1"/>
            <a:r>
              <a:rPr lang="ru-RU" dirty="0" smtClean="0"/>
              <a:t>Определение </a:t>
            </a:r>
            <a:r>
              <a:rPr lang="ru-RU" dirty="0" err="1"/>
              <a:t>флавоноидов</a:t>
            </a:r>
            <a:r>
              <a:rPr lang="ru-RU" dirty="0"/>
              <a:t> в растениях</a:t>
            </a:r>
            <a:endParaRPr lang="ru-RU" dirty="0" smtClean="0"/>
          </a:p>
          <a:p>
            <a:r>
              <a:rPr lang="ru-RU" dirty="0" smtClean="0"/>
              <a:t>До 31.05.2021г. – проведение 2-х </a:t>
            </a:r>
            <a:r>
              <a:rPr lang="ru-RU" dirty="0" smtClean="0"/>
              <a:t>и более мероприятий</a:t>
            </a:r>
            <a:r>
              <a:rPr lang="ru-RU" dirty="0" smtClean="0"/>
              <a:t>:</a:t>
            </a:r>
          </a:p>
          <a:p>
            <a:pPr lvl="1"/>
            <a:r>
              <a:rPr lang="ru-RU" dirty="0" smtClean="0"/>
              <a:t>Обучающего </a:t>
            </a:r>
            <a:r>
              <a:rPr lang="ru-RU" dirty="0" smtClean="0"/>
              <a:t>курса для наставников</a:t>
            </a:r>
          </a:p>
          <a:p>
            <a:pPr lvl="1"/>
            <a:r>
              <a:rPr lang="ru-RU" dirty="0" smtClean="0"/>
              <a:t>Конференция школьных и студенческих проектов, подготовленных при помощи обученных </a:t>
            </a:r>
            <a:r>
              <a:rPr lang="ru-RU" dirty="0" smtClean="0"/>
              <a:t>наставников</a:t>
            </a:r>
          </a:p>
          <a:p>
            <a:r>
              <a:rPr lang="ru-RU" dirty="0"/>
              <a:t>До 31.12.2024г. – масштабирование во всех регионах России и создание центров экспертизы и поддержки компетенций наставничества </a:t>
            </a:r>
            <a:r>
              <a:rPr lang="ru-RU" dirty="0" smtClean="0"/>
              <a:t>научно-исследовательских проектов</a:t>
            </a:r>
            <a:endParaRPr lang="ru-RU" dirty="0"/>
          </a:p>
          <a:p>
            <a:pPr lvl="1"/>
            <a:endParaRPr lang="ru-RU" dirty="0" smtClean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b="1" dirty="0">
                <a:solidFill>
                  <a:srgbClr val="00B050"/>
                </a:solidFill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73970304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63517"/>
            <a:ext cx="11252200" cy="4068763"/>
          </a:xfrm>
        </p:spPr>
        <p:txBody>
          <a:bodyPr/>
          <a:lstStyle/>
          <a:p>
            <a:r>
              <a:rPr lang="ru-RU" sz="2700" dirty="0" smtClean="0"/>
              <a:t>Команда проекта – 19 человек, включает директора, бухгалтера, руководителя проекта, научного руководителя, и 15 человек по 5-ти направлениям научно-исследовательских проектов</a:t>
            </a:r>
            <a:r>
              <a:rPr lang="ru-RU" sz="2700" dirty="0" smtClean="0"/>
              <a:t>)</a:t>
            </a:r>
          </a:p>
          <a:p>
            <a:r>
              <a:rPr lang="ru-RU" sz="2700" dirty="0" smtClean="0"/>
              <a:t>Создана коммуникативная площадка для общения, повышения квалификации наставников, размещения проектов по темам, с рецензированием, экспертизой и сопровождением научно-исследовательских проектов (</a:t>
            </a:r>
            <a:r>
              <a:rPr lang="en-US" sz="2700" b="1" dirty="0">
                <a:solidFill>
                  <a:srgbClr val="00B050"/>
                </a:solidFill>
                <a:hlinkClick r:id="rId2"/>
              </a:rPr>
              <a:t>http://</a:t>
            </a:r>
            <a:r>
              <a:rPr lang="ru-RU" sz="2700" b="1" dirty="0" err="1" smtClean="0">
                <a:solidFill>
                  <a:srgbClr val="00B050"/>
                </a:solidFill>
                <a:hlinkClick r:id="rId2"/>
              </a:rPr>
              <a:t>школанаставников.рф</a:t>
            </a:r>
            <a:r>
              <a:rPr lang="ru-RU" sz="2700" dirty="0" smtClean="0"/>
              <a:t>)</a:t>
            </a:r>
            <a:endParaRPr lang="ru-RU" sz="2700" dirty="0" smtClean="0"/>
          </a:p>
          <a:p>
            <a:r>
              <a:rPr lang="ru-RU" sz="2700" dirty="0" smtClean="0"/>
              <a:t>В настоящий момент проект развивается в Новосибирской области за счет инициативы Фонда «Образования», НГУ, сотрудников научных Институтов СО РАН, </a:t>
            </a:r>
            <a:r>
              <a:rPr lang="ru-RU" sz="2700" dirty="0" err="1" smtClean="0"/>
              <a:t>Академпарка</a:t>
            </a:r>
            <a:r>
              <a:rPr lang="ru-RU" sz="2700" dirty="0" smtClean="0"/>
              <a:t>, на пространствах Точек Кипения, ВУЗов и школ </a:t>
            </a:r>
            <a:r>
              <a:rPr lang="ru-RU" sz="2700" dirty="0" err="1" smtClean="0"/>
              <a:t>г.Новосибирска</a:t>
            </a:r>
            <a:endParaRPr lang="ru-RU" sz="2700" dirty="0" smtClean="0"/>
          </a:p>
          <a:p>
            <a:r>
              <a:rPr lang="ru-RU" sz="2700" dirty="0" smtClean="0"/>
              <a:t>Предполагается привлечение финансирования министерства образования РФ, Фонда Президентских Грантов и других заинтересованных сторон</a:t>
            </a:r>
            <a:endParaRPr lang="ru-RU" sz="27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b="1" dirty="0">
                <a:solidFill>
                  <a:srgbClr val="00B050"/>
                </a:solidFill>
              </a:rPr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63517"/>
            <a:ext cx="11252200" cy="406876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ru-RU" sz="2700" b="1" dirty="0" smtClean="0"/>
              <a:t>Появление конкурентов</a:t>
            </a:r>
            <a:r>
              <a:rPr lang="ru-RU" sz="2700" dirty="0" smtClean="0"/>
              <a:t>. Решается путем формирования УТП и отстройки от конкурентов </a:t>
            </a:r>
          </a:p>
          <a:p>
            <a:pPr>
              <a:spcBef>
                <a:spcPts val="600"/>
              </a:spcBef>
            </a:pPr>
            <a:r>
              <a:rPr lang="ru-RU" sz="2700" b="1" dirty="0" smtClean="0"/>
              <a:t>Принятие </a:t>
            </a:r>
            <a:r>
              <a:rPr lang="ru-RU" sz="2700" b="1" dirty="0" smtClean="0"/>
              <a:t>иностранной </a:t>
            </a:r>
            <a:r>
              <a:rPr lang="ru-RU" sz="2700" b="1" dirty="0" smtClean="0"/>
              <a:t>модели компетенций </a:t>
            </a:r>
            <a:r>
              <a:rPr lang="ru-RU" sz="2700" b="1" dirty="0" smtClean="0"/>
              <a:t>наставничества</a:t>
            </a:r>
            <a:r>
              <a:rPr lang="en-US" sz="2700" dirty="0" smtClean="0"/>
              <a:t> </a:t>
            </a:r>
            <a:r>
              <a:rPr lang="ru-RU" sz="2700" dirty="0" smtClean="0"/>
              <a:t>на законодательном уровне. </a:t>
            </a:r>
            <a:r>
              <a:rPr lang="ru-RU" sz="2700" dirty="0"/>
              <a:t>Решается </a:t>
            </a:r>
            <a:r>
              <a:rPr lang="ru-RU" sz="2700" dirty="0" smtClean="0"/>
              <a:t>сотрудничеством с нацпроектом «Образование» и Фондом Президентских Грантов</a:t>
            </a:r>
          </a:p>
          <a:p>
            <a:pPr>
              <a:spcBef>
                <a:spcPts val="600"/>
              </a:spcBef>
            </a:pPr>
            <a:r>
              <a:rPr lang="ru-RU" sz="2700" b="1" dirty="0" smtClean="0"/>
              <a:t>Недофинансирование проекта</a:t>
            </a:r>
            <a:r>
              <a:rPr lang="ru-RU" sz="2700" dirty="0" smtClean="0"/>
              <a:t>. </a:t>
            </a:r>
            <a:r>
              <a:rPr lang="ru-RU" sz="2700" dirty="0"/>
              <a:t>Решается</a:t>
            </a:r>
            <a:r>
              <a:rPr lang="ru-RU" sz="2700" dirty="0" smtClean="0"/>
              <a:t> путем привлечения </a:t>
            </a:r>
            <a:r>
              <a:rPr lang="ru-RU" sz="2700" dirty="0" err="1" smtClean="0"/>
              <a:t>софинансирования</a:t>
            </a:r>
            <a:r>
              <a:rPr lang="ru-RU" sz="2700" dirty="0" smtClean="0"/>
              <a:t> из внебюджетных источников</a:t>
            </a:r>
          </a:p>
          <a:p>
            <a:pPr>
              <a:spcBef>
                <a:spcPts val="600"/>
              </a:spcBef>
            </a:pPr>
            <a:r>
              <a:rPr lang="ru-RU" sz="2700" b="1" dirty="0" smtClean="0"/>
              <a:t>Недостаток инициативных людей</a:t>
            </a:r>
            <a:r>
              <a:rPr lang="ru-RU" sz="2700" dirty="0" smtClean="0"/>
              <a:t> в </a:t>
            </a:r>
            <a:r>
              <a:rPr lang="ru-RU" sz="2700" dirty="0"/>
              <a:t>регионах. Решается </a:t>
            </a:r>
            <a:r>
              <a:rPr lang="ru-RU" sz="2700" dirty="0" smtClean="0"/>
              <a:t>путем проведения образовательных программ.</a:t>
            </a:r>
          </a:p>
          <a:p>
            <a:pPr>
              <a:spcBef>
                <a:spcPts val="600"/>
              </a:spcBef>
            </a:pPr>
            <a:r>
              <a:rPr lang="ru-RU" sz="2700" b="1" dirty="0" smtClean="0"/>
              <a:t>Формализация отношений, низкая мотивация</a:t>
            </a:r>
            <a:r>
              <a:rPr lang="ru-RU" sz="2700" dirty="0" smtClean="0"/>
              <a:t> на взаимодействие «наставник-наставляемый» и низкие первые результаты </a:t>
            </a:r>
            <a:r>
              <a:rPr lang="ru-RU" sz="2700" dirty="0"/>
              <a:t>проектов. Решается </a:t>
            </a:r>
            <a:r>
              <a:rPr lang="ru-RU" sz="2700" dirty="0" smtClean="0"/>
              <a:t>путем </a:t>
            </a:r>
            <a:r>
              <a:rPr lang="ru-RU" sz="2700" dirty="0"/>
              <a:t>проведения образовательных </a:t>
            </a:r>
            <a:r>
              <a:rPr lang="ru-RU" sz="2700" dirty="0" smtClean="0"/>
              <a:t>программ и дистанционным взаимодействием</a:t>
            </a:r>
            <a:endParaRPr lang="ru-RU" sz="27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b="1" dirty="0">
                <a:solidFill>
                  <a:srgbClr val="00B050"/>
                </a:solidFill>
              </a:rPr>
              <a:t>Риски </a:t>
            </a:r>
          </a:p>
        </p:txBody>
      </p:sp>
    </p:spTree>
    <p:extLst>
      <p:ext uri="{BB962C8B-B14F-4D97-AF65-F5344CB8AC3E}">
        <p14:creationId xmlns:p14="http://schemas.microsoft.com/office/powerpoint/2010/main" val="402693461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Срок – до 2024 (время действия нацпроекта «Образование»)</a:t>
            </a:r>
          </a:p>
          <a:p>
            <a:r>
              <a:rPr lang="ru-RU" dirty="0" smtClean="0"/>
              <a:t>Технологических ограничений не наблюдается</a:t>
            </a:r>
          </a:p>
          <a:p>
            <a:r>
              <a:rPr lang="ru-RU" dirty="0" smtClean="0"/>
              <a:t>Безопасность – обеспечение безопасной работы со школьниками и студентами, защита личных данных</a:t>
            </a:r>
          </a:p>
          <a:p>
            <a:r>
              <a:rPr lang="ru-RU" dirty="0" smtClean="0"/>
              <a:t>География – Российская Федерация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b="1" dirty="0">
                <a:solidFill>
                  <a:srgbClr val="00B050"/>
                </a:solidFill>
              </a:rPr>
              <a:t>Ограничения  </a:t>
            </a:r>
          </a:p>
        </p:txBody>
      </p:sp>
    </p:spTree>
    <p:extLst>
      <p:ext uri="{BB962C8B-B14F-4D97-AF65-F5344CB8AC3E}">
        <p14:creationId xmlns:p14="http://schemas.microsoft.com/office/powerpoint/2010/main" val="39158818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98686"/>
            <a:ext cx="11252200" cy="4068763"/>
          </a:xfrm>
        </p:spPr>
        <p:txBody>
          <a:bodyPr/>
          <a:lstStyle/>
          <a:p>
            <a:r>
              <a:rPr lang="ru-RU" dirty="0" smtClean="0"/>
              <a:t>Создается </a:t>
            </a:r>
            <a:r>
              <a:rPr lang="ru-RU" b="1" dirty="0" smtClean="0"/>
              <a:t>рынок наставничества</a:t>
            </a:r>
            <a:r>
              <a:rPr lang="ru-RU" dirty="0" smtClean="0"/>
              <a:t> РФ (в том числе: рынок подготовки наставников, рынок сертификации наставников, рынок экспертизы школьных и студенческих технологических </a:t>
            </a:r>
            <a:r>
              <a:rPr lang="ru-RU" dirty="0" err="1" smtClean="0"/>
              <a:t>стартапов</a:t>
            </a:r>
            <a:r>
              <a:rPr lang="ru-RU" dirty="0" smtClean="0"/>
              <a:t>)</a:t>
            </a:r>
          </a:p>
          <a:p>
            <a:r>
              <a:rPr lang="ru-RU" b="1" dirty="0" smtClean="0"/>
              <a:t>Во всех регионах</a:t>
            </a:r>
            <a:r>
              <a:rPr lang="ru-RU" dirty="0" smtClean="0"/>
              <a:t>, где созданы опорные центры наставничества, происходит:</a:t>
            </a:r>
          </a:p>
          <a:p>
            <a:pPr lvl="1"/>
            <a:r>
              <a:rPr lang="ru-RU" dirty="0" smtClean="0"/>
              <a:t>Увеличение количества научно-исследовательских и инновационных проектов школьников и студентов</a:t>
            </a:r>
          </a:p>
          <a:p>
            <a:pPr lvl="1"/>
            <a:r>
              <a:rPr lang="ru-RU" dirty="0" smtClean="0"/>
              <a:t>Увеличение качества проектов школьников и студентов</a:t>
            </a:r>
            <a:endParaRPr lang="ru-RU" dirty="0"/>
          </a:p>
          <a:p>
            <a:pPr lvl="1"/>
            <a:r>
              <a:rPr lang="ru-RU" dirty="0" smtClean="0"/>
              <a:t>Уменьшение числа ошибок при проработке проектов</a:t>
            </a:r>
            <a:endParaRPr lang="ru-RU" dirty="0"/>
          </a:p>
          <a:p>
            <a:pPr lvl="1"/>
            <a:r>
              <a:rPr lang="ru-RU" dirty="0" smtClean="0"/>
              <a:t>Появление устойчивых связей школьников, студентов, </a:t>
            </a:r>
            <a:r>
              <a:rPr lang="ru-RU" dirty="0" smtClean="0"/>
              <a:t>учителей, преподавателей </a:t>
            </a:r>
            <a:r>
              <a:rPr lang="ru-RU" dirty="0" smtClean="0"/>
              <a:t>и научных сотрудников 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b="1" dirty="0">
                <a:solidFill>
                  <a:srgbClr val="00B050"/>
                </a:solidFill>
              </a:rPr>
              <a:t>Эффекты от реализации проекта   </a:t>
            </a:r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91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687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BB006EC-8CB9-4023-B6DD-D9B014C0C545}"/>
              </a:ext>
            </a:extLst>
          </p:cNvPr>
          <p:cNvSpPr>
            <a:spLocks/>
          </p:cNvSpPr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84241"/>
            <a:ext cx="4945289" cy="3711785"/>
          </a:xfrm>
        </p:spPr>
        <p:txBody>
          <a:bodyPr anchor="t" anchorCtr="0"/>
          <a:lstStyle/>
          <a:p>
            <a:r>
              <a:rPr lang="ru-RU" dirty="0">
                <a:solidFill>
                  <a:schemeClr val="bg1"/>
                </a:solidFill>
              </a:rPr>
              <a:t>«Межрегиональная Школа наставников научно-исследовательской деятельности школьников</a:t>
            </a:r>
            <a:r>
              <a:rPr lang="ru-RU" dirty="0" smtClean="0">
                <a:solidFill>
                  <a:schemeClr val="bg1"/>
                </a:solidFill>
              </a:rPr>
              <a:t>»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r>
              <a:rPr lang="en-US" sz="2200" dirty="0">
                <a:solidFill>
                  <a:schemeClr val="bg1"/>
                </a:solidFill>
                <a:hlinkClick r:id="rId9"/>
              </a:rPr>
              <a:t>https://</a:t>
            </a:r>
            <a:r>
              <a:rPr lang="en-US" sz="2200" dirty="0" smtClean="0">
                <a:solidFill>
                  <a:schemeClr val="bg1"/>
                </a:solidFill>
                <a:hlinkClick r:id="rId9"/>
              </a:rPr>
              <a:t>idea.asi.ru/improject-46/ideas/2646</a:t>
            </a:r>
            <a:r>
              <a:rPr lang="ru-RU" sz="2200" dirty="0" smtClean="0">
                <a:solidFill>
                  <a:schemeClr val="bg1"/>
                </a:solidFill>
              </a:rPr>
              <a:t/>
            </a:r>
            <a:br>
              <a:rPr lang="ru-RU" sz="2200" dirty="0" smtClean="0">
                <a:solidFill>
                  <a:schemeClr val="bg1"/>
                </a:solidFill>
              </a:rPr>
            </a:br>
            <a:endParaRPr lang="ru-RU" sz="2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Picture 22">
            <a:extLst>
              <a:ext uri="{FF2B5EF4-FFF2-40B4-BE49-F238E27FC236}">
                <a16:creationId xmlns:a16="http://schemas.microsoft.com/office/drawing/2014/main" xmlns="" id="{16AC62CF-A080-4F12-9D6D-1252157052A2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 rotWithShape="1">
          <a:blip r:embed="rId10" cstate="print">
            <a:lum bright="10000" contrast="1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6393" r="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1872AD47-F7F9-4364-BC14-E58AE819B55D}"/>
              </a:ext>
            </a:extLst>
          </p:cNvPr>
          <p:cNvSpPr txBox="1">
            <a:spLocks/>
          </p:cNvSpPr>
          <p:nvPr/>
        </p:nvSpPr>
        <p:spPr>
          <a:xfrm>
            <a:off x="374590" y="4793533"/>
            <a:ext cx="4945289" cy="123418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0" spc="-151" dirty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400" b="0" dirty="0" smtClean="0">
                <a:solidFill>
                  <a:schemeClr val="bg1"/>
                </a:solidFill>
              </a:rPr>
              <a:t>Автор Идеи и руководитель проекта –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dirty="0" smtClean="0">
                <a:solidFill>
                  <a:schemeClr val="bg1"/>
                </a:solidFill>
              </a:rPr>
              <a:t>Васенёв Александр Валерьевич </a:t>
            </a:r>
            <a:r>
              <a:rPr lang="ru-RU" sz="2700" b="0" dirty="0" smtClean="0">
                <a:solidFill>
                  <a:schemeClr val="bg1"/>
                </a:solidFill>
              </a:rPr>
              <a:t>+7(913)987-12-29</a:t>
            </a:r>
            <a:endParaRPr lang="ru-RU" sz="27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28626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3888" y="32748"/>
            <a:ext cx="5168900" cy="885825"/>
          </a:xfrm>
          <a:solidFill>
            <a:srgbClr val="92D050"/>
          </a:solidFill>
        </p:spPr>
        <p:txBody>
          <a:bodyPr rtlCol="0">
            <a:normAutofit fontScale="90000"/>
          </a:bodyPr>
          <a:lstStyle/>
          <a:p>
            <a:pPr algn="r" fontAlgn="auto">
              <a:spcAft>
                <a:spcPts val="0"/>
              </a:spcAft>
              <a:defRPr/>
            </a:pPr>
            <a:r>
              <a:rPr lang="ru-RU" dirty="0" smtClean="0">
                <a:latin typeface="Palatino Linotype" panose="02040502050505030304" pitchFamily="18" charset="0"/>
              </a:rPr>
              <a:t>Александр Васенёв.</a:t>
            </a:r>
            <a:endParaRPr lang="ru-RU" dirty="0">
              <a:latin typeface="Palatino Linotype" panose="02040502050505030304" pitchFamily="18" charset="0"/>
            </a:endParaRPr>
          </a:p>
        </p:txBody>
      </p:sp>
      <p:pic>
        <p:nvPicPr>
          <p:cNvPr id="307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37783"/>
            <a:ext cx="1287318" cy="1030259"/>
          </a:xfrm>
          <a:noFill/>
        </p:spPr>
      </p:pic>
      <p:sp>
        <p:nvSpPr>
          <p:cNvPr id="3078" name="TextBox 5"/>
          <p:cNvSpPr txBox="1">
            <a:spLocks noChangeArrowheads="1"/>
          </p:cNvSpPr>
          <p:nvPr/>
        </p:nvSpPr>
        <p:spPr bwMode="auto">
          <a:xfrm>
            <a:off x="3657600" y="965172"/>
            <a:ext cx="8428038" cy="590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Образование НГУ. Химик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Предприниматель с опытом более 15 проект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Более 20 лет управленческого опы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Бизнес-ангел, инвестор, собственник малого инновационного производственного предприятия – резидента Технопарка Академгород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Сертифицированный тренер по личной эффективности и бизнес-тренер (</a:t>
            </a:r>
            <a:r>
              <a:rPr lang="en-US" altLang="ru-RU" dirty="0">
                <a:solidFill>
                  <a:prstClr val="black"/>
                </a:solidFill>
                <a:cs typeface="Arial" charset="0"/>
              </a:rPr>
              <a:t>&gt;</a:t>
            </a: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10 000 участников тренингов и консультаций)</a:t>
            </a:r>
            <a:endParaRPr lang="en-US" altLang="ru-RU" dirty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altLang="ru-RU" dirty="0" err="1">
                <a:solidFill>
                  <a:prstClr val="black"/>
                </a:solidFill>
                <a:cs typeface="Arial" charset="0"/>
              </a:rPr>
              <a:t>Квалифицированный</a:t>
            </a:r>
            <a:r>
              <a:rPr lang="en-US" altLang="ru-RU" dirty="0">
                <a:solidFill>
                  <a:prstClr val="black"/>
                </a:solidFill>
                <a:cs typeface="Arial" charset="0"/>
              </a:rPr>
              <a:t> Master of Business Administration (Executive МВА РСПП)</a:t>
            </a:r>
            <a:endParaRPr lang="ru-RU" altLang="ru-RU" dirty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Ведущий площадок международных форумов, Эксперт федеральных программ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Разработчик образовательных программ «Региональная Фабрика Бизнесов», «Школа Переговоров и Продаж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Соавтор методики подготовки наставников научно-исследовательской и проектной деятельности в общем и дополнительном образован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Автор книги, ставшей бестселлером на </a:t>
            </a:r>
            <a:r>
              <a:rPr lang="en-US" altLang="ru-RU" dirty="0">
                <a:solidFill>
                  <a:prstClr val="black"/>
                </a:solidFill>
                <a:cs typeface="Arial" charset="0"/>
              </a:rPr>
              <a:t>ozon.ru</a:t>
            </a:r>
            <a:endParaRPr lang="ru-RU" altLang="ru-RU" dirty="0">
              <a:solidFill>
                <a:prstClr val="black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Преподаватель НГУЭУ </a:t>
            </a:r>
            <a:r>
              <a:rPr lang="ru-RU" altLang="ru-RU" dirty="0" err="1">
                <a:solidFill>
                  <a:prstClr val="black"/>
                </a:solidFill>
                <a:cs typeface="Arial" charset="0"/>
              </a:rPr>
              <a:t>кампусного</a:t>
            </a: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 курса «Основы предпринимательства» и курса РВК «Инновационная экономика и технологическое предпринимательство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Участник проектов «Остров </a:t>
            </a:r>
            <a:r>
              <a:rPr lang="ru-RU" altLang="ru-RU" dirty="0" smtClean="0">
                <a:solidFill>
                  <a:prstClr val="black"/>
                </a:solidFill>
                <a:cs typeface="Arial" charset="0"/>
              </a:rPr>
              <a:t>10-21», </a:t>
            </a: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«Остров 10-22» и «Зимний Остров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Лучший Технологический Предприниматель проекта «Остров 10-21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Директор Фонда «Поддержка проектов в области образования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Председатель комиссии по наставничеству «Опоры России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</a:pPr>
            <a:r>
              <a:rPr lang="ru-RU" altLang="ru-RU" dirty="0">
                <a:solidFill>
                  <a:prstClr val="black"/>
                </a:solidFill>
                <a:cs typeface="Arial" charset="0"/>
              </a:rPr>
              <a:t>Лидер Новосибирского «Клуба Мышления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5" y="6304540"/>
            <a:ext cx="47152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prstClr val="black"/>
                </a:solidFill>
                <a:cs typeface="Arial" charset="0"/>
                <a:hlinkClick r:id="rId3"/>
              </a:rPr>
              <a:t>http://</a:t>
            </a:r>
            <a:r>
              <a:rPr lang="en-US" sz="2000" b="1" dirty="0" smtClean="0">
                <a:solidFill>
                  <a:prstClr val="black"/>
                </a:solidFill>
                <a:cs typeface="Arial" charset="0"/>
                <a:hlinkClick r:id="rId3"/>
              </a:rPr>
              <a:t>fond-edu.ru</a:t>
            </a:r>
            <a:r>
              <a:rPr lang="ru-RU" sz="2000" b="1" dirty="0" smtClean="0">
                <a:solidFill>
                  <a:prstClr val="black"/>
                </a:solidFill>
                <a:cs typeface="Arial" charset="0"/>
              </a:rPr>
              <a:t> </a:t>
            </a:r>
            <a:endParaRPr lang="ru-RU" sz="2000" b="1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069830" y="6504595"/>
            <a:ext cx="2118678" cy="3539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700" b="1" dirty="0">
                <a:solidFill>
                  <a:prstClr val="black"/>
                </a:solidFill>
                <a:latin typeface="Palatino Linotype" pitchFamily="18" charset="0"/>
                <a:cs typeface="Arial" charset="0"/>
              </a:rPr>
              <a:t>+</a:t>
            </a:r>
            <a:r>
              <a:rPr lang="ru-RU" sz="1700" b="1" dirty="0" smtClean="0">
                <a:solidFill>
                  <a:prstClr val="black"/>
                </a:solidFill>
                <a:latin typeface="Palatino Linotype" pitchFamily="18" charset="0"/>
                <a:cs typeface="Arial" charset="0"/>
              </a:rPr>
              <a:t>7 (</a:t>
            </a:r>
            <a:r>
              <a:rPr lang="ru-RU" sz="1700" b="1" dirty="0">
                <a:solidFill>
                  <a:prstClr val="black"/>
                </a:solidFill>
                <a:latin typeface="Palatino Linotype" pitchFamily="18" charset="0"/>
                <a:cs typeface="Arial" charset="0"/>
              </a:rPr>
              <a:t>913) 987-12-29</a:t>
            </a:r>
            <a:endParaRPr lang="en-US" sz="1700" b="1" dirty="0">
              <a:solidFill>
                <a:prstClr val="black"/>
              </a:solidFill>
              <a:latin typeface="Palatino Linotype" pitchFamily="18" charset="0"/>
              <a:cs typeface="Arial" charset="0"/>
            </a:endParaRPr>
          </a:p>
        </p:txBody>
      </p:sp>
      <p:pic>
        <p:nvPicPr>
          <p:cNvPr id="11" name="Picture 2" descr="C:\Users\User\YandexDisk\Фото с тренингов\Акселератор ЭкоСистем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5" y="1068042"/>
            <a:ext cx="3446998" cy="513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364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ую проблему решает проект ? В чем ее актуальность? Каков масштаб проблемы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В настоящее время в </a:t>
            </a:r>
            <a:r>
              <a:rPr lang="ru-RU" dirty="0" smtClean="0"/>
              <a:t>РФ:</a:t>
            </a:r>
          </a:p>
          <a:p>
            <a:r>
              <a:rPr lang="ru-RU" dirty="0" smtClean="0"/>
              <a:t>Недостаточно </a:t>
            </a:r>
            <a:r>
              <a:rPr lang="ru-RU" dirty="0"/>
              <a:t>наставников с высоким уровнем проектных, научных и  педагогических компетенций и мотивации</a:t>
            </a:r>
          </a:p>
          <a:p>
            <a:r>
              <a:rPr lang="ru-RU" dirty="0"/>
              <a:t>Слабый уровень детских исследовательских проектов не помогает овладеть  тематикой и освоить научный метод</a:t>
            </a:r>
          </a:p>
          <a:p>
            <a:r>
              <a:rPr lang="ru-RU" dirty="0"/>
              <a:t>Не хватает преемственности образовательных и </a:t>
            </a:r>
            <a:r>
              <a:rPr lang="ru-RU" dirty="0" smtClean="0"/>
              <a:t>проектных результатов</a:t>
            </a:r>
            <a:endParaRPr lang="ru-RU" dirty="0"/>
          </a:p>
          <a:p>
            <a:r>
              <a:rPr lang="ru-RU" dirty="0"/>
              <a:t>Разделение «научного» и «инженерного» сообщества, к сожалению,  закладывается уже на уровне детского образования раздельными  мероприятиями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b="1" dirty="0">
                <a:solidFill>
                  <a:schemeClr val="accent1">
                    <a:lumMod val="50000"/>
                  </a:schemeClr>
                </a:solidFill>
              </a:rPr>
              <a:t>Проблема </a:t>
            </a:r>
          </a:p>
        </p:txBody>
      </p:sp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ое желаемое состояние мы планируем достичь реализацией проекта? Проблема, переформулированная в позитивном ключе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Обучить наставников научно-исследовательской деятельности школьников на основе сетевых исследовательских </a:t>
            </a:r>
            <a:r>
              <a:rPr lang="ru-RU" dirty="0" smtClean="0"/>
              <a:t>проектов, обеспечивающих </a:t>
            </a:r>
            <a:r>
              <a:rPr lang="ru-RU" dirty="0"/>
              <a:t>взаимодействие педагогов, школьников, ученых и специалистов наукоемких компаний.</a:t>
            </a:r>
          </a:p>
          <a:p>
            <a:r>
              <a:rPr lang="ru-RU" dirty="0"/>
              <a:t>Распространить программу обучения наставников на основе сетевых проектов в регионах РФ.</a:t>
            </a:r>
          </a:p>
          <a:p>
            <a:r>
              <a:rPr lang="ru-RU" dirty="0"/>
              <a:t>Вовлечь в наставническую деятельность и обучить не менее 125 наставников из не менее чем 6 регионов РФ для не менее  чем 125 проектно-исследовательских групп школьников общей численностью не менее 250 человек по </a:t>
            </a:r>
            <a:r>
              <a:rPr lang="ru-RU" dirty="0" err="1" smtClean="0"/>
              <a:t>направлениям:биология</a:t>
            </a:r>
            <a:r>
              <a:rPr lang="ru-RU" dirty="0"/>
              <a:t>, химия, физика, цифровая </a:t>
            </a:r>
            <a:r>
              <a:rPr lang="ru-RU" dirty="0" err="1"/>
              <a:t>гуманитаристика</a:t>
            </a:r>
            <a:r>
              <a:rPr lang="ru-RU" dirty="0"/>
              <a:t> и </a:t>
            </a:r>
            <a:r>
              <a:rPr lang="ru-RU" dirty="0" err="1" smtClean="0"/>
              <a:t>нейротехнологии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b="1" dirty="0">
                <a:solidFill>
                  <a:srgbClr val="00B050"/>
                </a:solidFill>
              </a:rPr>
              <a:t>Цель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5042964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Наставники </a:t>
            </a:r>
            <a:r>
              <a:rPr lang="ru-RU" dirty="0" smtClean="0"/>
              <a:t>научно-исследовательских институтов СО РАН уже несколько лет участвуют </a:t>
            </a:r>
            <a:r>
              <a:rPr lang="ru-RU" dirty="0"/>
              <a:t>в различных мероприятиях </a:t>
            </a:r>
            <a:r>
              <a:rPr lang="ru-RU" dirty="0" smtClean="0"/>
              <a:t>по </a:t>
            </a:r>
            <a:r>
              <a:rPr lang="ru-RU" dirty="0"/>
              <a:t>созданию </a:t>
            </a:r>
            <a:r>
              <a:rPr lang="ru-RU" dirty="0" smtClean="0"/>
              <a:t>и сопровождению научно-исследовательских проектов школьников, и, накопили огромный опыт в этой области</a:t>
            </a:r>
          </a:p>
          <a:p>
            <a:r>
              <a:rPr lang="ru-RU" b="1" dirty="0" smtClean="0"/>
              <a:t>Идея</a:t>
            </a:r>
            <a:r>
              <a:rPr lang="ru-RU" dirty="0" smtClean="0"/>
              <a:t> – превратить имеющийся опыт в методику, готовить наставников научно-исследовательских проектов, и </a:t>
            </a:r>
            <a:r>
              <a:rPr lang="ru-RU" dirty="0"/>
              <a:t>помогать </a:t>
            </a:r>
            <a:r>
              <a:rPr lang="ru-RU" dirty="0" smtClean="0"/>
              <a:t>делать реально интересные научные и исследовательские проекты в школе при помощи подготовленных наставников, прививая школьникам интерес к науке и научным подходам в различных науках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b="1" dirty="0">
                <a:solidFill>
                  <a:srgbClr val="00B050"/>
                </a:solidFill>
              </a:rPr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880360" y="1685544"/>
            <a:ext cx="6243955" cy="3382010"/>
            <a:chOff x="2880360" y="1685544"/>
            <a:chExt cx="6243955" cy="3382010"/>
          </a:xfrm>
        </p:grpSpPr>
        <p:sp>
          <p:nvSpPr>
            <p:cNvPr id="3" name="object 3"/>
            <p:cNvSpPr/>
            <p:nvPr/>
          </p:nvSpPr>
          <p:spPr>
            <a:xfrm>
              <a:off x="2887980" y="1693164"/>
              <a:ext cx="6228715" cy="3366770"/>
            </a:xfrm>
            <a:custGeom>
              <a:avLst/>
              <a:gdLst/>
              <a:ahLst/>
              <a:cxnLst/>
              <a:rect l="l" t="t" r="r" b="b"/>
              <a:pathLst>
                <a:path w="6228715" h="3366770">
                  <a:moveTo>
                    <a:pt x="5667502" y="0"/>
                  </a:moveTo>
                  <a:lnTo>
                    <a:pt x="561085" y="0"/>
                  </a:lnTo>
                  <a:lnTo>
                    <a:pt x="512673" y="2059"/>
                  </a:lnTo>
                  <a:lnTo>
                    <a:pt x="465404" y="8125"/>
                  </a:lnTo>
                  <a:lnTo>
                    <a:pt x="419446" y="18030"/>
                  </a:lnTo>
                  <a:lnTo>
                    <a:pt x="374970" y="31604"/>
                  </a:lnTo>
                  <a:lnTo>
                    <a:pt x="332142" y="48680"/>
                  </a:lnTo>
                  <a:lnTo>
                    <a:pt x="291132" y="69089"/>
                  </a:lnTo>
                  <a:lnTo>
                    <a:pt x="252107" y="92663"/>
                  </a:lnTo>
                  <a:lnTo>
                    <a:pt x="215236" y="119233"/>
                  </a:lnTo>
                  <a:lnTo>
                    <a:pt x="180688" y="148631"/>
                  </a:lnTo>
                  <a:lnTo>
                    <a:pt x="148631" y="180688"/>
                  </a:lnTo>
                  <a:lnTo>
                    <a:pt x="119233" y="215236"/>
                  </a:lnTo>
                  <a:lnTo>
                    <a:pt x="92663" y="252107"/>
                  </a:lnTo>
                  <a:lnTo>
                    <a:pt x="69089" y="291132"/>
                  </a:lnTo>
                  <a:lnTo>
                    <a:pt x="48680" y="332142"/>
                  </a:lnTo>
                  <a:lnTo>
                    <a:pt x="31604" y="374970"/>
                  </a:lnTo>
                  <a:lnTo>
                    <a:pt x="18030" y="419446"/>
                  </a:lnTo>
                  <a:lnTo>
                    <a:pt x="8125" y="465404"/>
                  </a:lnTo>
                  <a:lnTo>
                    <a:pt x="2059" y="512673"/>
                  </a:lnTo>
                  <a:lnTo>
                    <a:pt x="0" y="561086"/>
                  </a:lnTo>
                  <a:lnTo>
                    <a:pt x="0" y="2805430"/>
                  </a:lnTo>
                  <a:lnTo>
                    <a:pt x="2059" y="2853842"/>
                  </a:lnTo>
                  <a:lnTo>
                    <a:pt x="8125" y="2901111"/>
                  </a:lnTo>
                  <a:lnTo>
                    <a:pt x="18030" y="2947069"/>
                  </a:lnTo>
                  <a:lnTo>
                    <a:pt x="31604" y="2991545"/>
                  </a:lnTo>
                  <a:lnTo>
                    <a:pt x="48680" y="3034373"/>
                  </a:lnTo>
                  <a:lnTo>
                    <a:pt x="69089" y="3075383"/>
                  </a:lnTo>
                  <a:lnTo>
                    <a:pt x="92663" y="3114408"/>
                  </a:lnTo>
                  <a:lnTo>
                    <a:pt x="119233" y="3151279"/>
                  </a:lnTo>
                  <a:lnTo>
                    <a:pt x="148631" y="3185827"/>
                  </a:lnTo>
                  <a:lnTo>
                    <a:pt x="180688" y="3217884"/>
                  </a:lnTo>
                  <a:lnTo>
                    <a:pt x="215236" y="3247282"/>
                  </a:lnTo>
                  <a:lnTo>
                    <a:pt x="252107" y="3273852"/>
                  </a:lnTo>
                  <a:lnTo>
                    <a:pt x="291132" y="3297426"/>
                  </a:lnTo>
                  <a:lnTo>
                    <a:pt x="332142" y="3317835"/>
                  </a:lnTo>
                  <a:lnTo>
                    <a:pt x="374970" y="3334911"/>
                  </a:lnTo>
                  <a:lnTo>
                    <a:pt x="419446" y="3348485"/>
                  </a:lnTo>
                  <a:lnTo>
                    <a:pt x="465404" y="3358390"/>
                  </a:lnTo>
                  <a:lnTo>
                    <a:pt x="512673" y="3364456"/>
                  </a:lnTo>
                  <a:lnTo>
                    <a:pt x="561085" y="3366516"/>
                  </a:lnTo>
                  <a:lnTo>
                    <a:pt x="5667502" y="3366516"/>
                  </a:lnTo>
                  <a:lnTo>
                    <a:pt x="5715914" y="3364456"/>
                  </a:lnTo>
                  <a:lnTo>
                    <a:pt x="5763183" y="3358390"/>
                  </a:lnTo>
                  <a:lnTo>
                    <a:pt x="5809141" y="3348485"/>
                  </a:lnTo>
                  <a:lnTo>
                    <a:pt x="5853617" y="3334911"/>
                  </a:lnTo>
                  <a:lnTo>
                    <a:pt x="5896445" y="3317835"/>
                  </a:lnTo>
                  <a:lnTo>
                    <a:pt x="5937455" y="3297426"/>
                  </a:lnTo>
                  <a:lnTo>
                    <a:pt x="5976480" y="3273852"/>
                  </a:lnTo>
                  <a:lnTo>
                    <a:pt x="6013351" y="3247282"/>
                  </a:lnTo>
                  <a:lnTo>
                    <a:pt x="6047899" y="3217884"/>
                  </a:lnTo>
                  <a:lnTo>
                    <a:pt x="6079956" y="3185827"/>
                  </a:lnTo>
                  <a:lnTo>
                    <a:pt x="6109354" y="3151279"/>
                  </a:lnTo>
                  <a:lnTo>
                    <a:pt x="6135924" y="3114408"/>
                  </a:lnTo>
                  <a:lnTo>
                    <a:pt x="6159498" y="3075383"/>
                  </a:lnTo>
                  <a:lnTo>
                    <a:pt x="6179907" y="3034373"/>
                  </a:lnTo>
                  <a:lnTo>
                    <a:pt x="6196983" y="2991545"/>
                  </a:lnTo>
                  <a:lnTo>
                    <a:pt x="6210557" y="2947069"/>
                  </a:lnTo>
                  <a:lnTo>
                    <a:pt x="6220462" y="2901111"/>
                  </a:lnTo>
                  <a:lnTo>
                    <a:pt x="6226528" y="2853842"/>
                  </a:lnTo>
                  <a:lnTo>
                    <a:pt x="6228588" y="2805430"/>
                  </a:lnTo>
                  <a:lnTo>
                    <a:pt x="6228588" y="561086"/>
                  </a:lnTo>
                  <a:lnTo>
                    <a:pt x="6226528" y="512673"/>
                  </a:lnTo>
                  <a:lnTo>
                    <a:pt x="6220462" y="465404"/>
                  </a:lnTo>
                  <a:lnTo>
                    <a:pt x="6210557" y="419446"/>
                  </a:lnTo>
                  <a:lnTo>
                    <a:pt x="6196983" y="374970"/>
                  </a:lnTo>
                  <a:lnTo>
                    <a:pt x="6179907" y="332142"/>
                  </a:lnTo>
                  <a:lnTo>
                    <a:pt x="6159498" y="291132"/>
                  </a:lnTo>
                  <a:lnTo>
                    <a:pt x="6135924" y="252107"/>
                  </a:lnTo>
                  <a:lnTo>
                    <a:pt x="6109354" y="215236"/>
                  </a:lnTo>
                  <a:lnTo>
                    <a:pt x="6079956" y="180688"/>
                  </a:lnTo>
                  <a:lnTo>
                    <a:pt x="6047899" y="148631"/>
                  </a:lnTo>
                  <a:lnTo>
                    <a:pt x="6013351" y="119233"/>
                  </a:lnTo>
                  <a:lnTo>
                    <a:pt x="5976480" y="92663"/>
                  </a:lnTo>
                  <a:lnTo>
                    <a:pt x="5937455" y="69089"/>
                  </a:lnTo>
                  <a:lnTo>
                    <a:pt x="5896445" y="48680"/>
                  </a:lnTo>
                  <a:lnTo>
                    <a:pt x="5853617" y="31604"/>
                  </a:lnTo>
                  <a:lnTo>
                    <a:pt x="5809141" y="18030"/>
                  </a:lnTo>
                  <a:lnTo>
                    <a:pt x="5763183" y="8125"/>
                  </a:lnTo>
                  <a:lnTo>
                    <a:pt x="5715914" y="2059"/>
                  </a:lnTo>
                  <a:lnTo>
                    <a:pt x="5667502" y="0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887980" y="1693164"/>
              <a:ext cx="6228715" cy="3366770"/>
            </a:xfrm>
            <a:custGeom>
              <a:avLst/>
              <a:gdLst/>
              <a:ahLst/>
              <a:cxnLst/>
              <a:rect l="l" t="t" r="r" b="b"/>
              <a:pathLst>
                <a:path w="6228715" h="3366770">
                  <a:moveTo>
                    <a:pt x="0" y="561086"/>
                  </a:moveTo>
                  <a:lnTo>
                    <a:pt x="2059" y="512673"/>
                  </a:lnTo>
                  <a:lnTo>
                    <a:pt x="8125" y="465404"/>
                  </a:lnTo>
                  <a:lnTo>
                    <a:pt x="18030" y="419446"/>
                  </a:lnTo>
                  <a:lnTo>
                    <a:pt x="31604" y="374970"/>
                  </a:lnTo>
                  <a:lnTo>
                    <a:pt x="48680" y="332142"/>
                  </a:lnTo>
                  <a:lnTo>
                    <a:pt x="69089" y="291132"/>
                  </a:lnTo>
                  <a:lnTo>
                    <a:pt x="92663" y="252107"/>
                  </a:lnTo>
                  <a:lnTo>
                    <a:pt x="119233" y="215236"/>
                  </a:lnTo>
                  <a:lnTo>
                    <a:pt x="148631" y="180688"/>
                  </a:lnTo>
                  <a:lnTo>
                    <a:pt x="180688" y="148631"/>
                  </a:lnTo>
                  <a:lnTo>
                    <a:pt x="215236" y="119233"/>
                  </a:lnTo>
                  <a:lnTo>
                    <a:pt x="252107" y="92663"/>
                  </a:lnTo>
                  <a:lnTo>
                    <a:pt x="291132" y="69089"/>
                  </a:lnTo>
                  <a:lnTo>
                    <a:pt x="332142" y="48680"/>
                  </a:lnTo>
                  <a:lnTo>
                    <a:pt x="374970" y="31604"/>
                  </a:lnTo>
                  <a:lnTo>
                    <a:pt x="419446" y="18030"/>
                  </a:lnTo>
                  <a:lnTo>
                    <a:pt x="465404" y="8125"/>
                  </a:lnTo>
                  <a:lnTo>
                    <a:pt x="512673" y="2059"/>
                  </a:lnTo>
                  <a:lnTo>
                    <a:pt x="561085" y="0"/>
                  </a:lnTo>
                  <a:lnTo>
                    <a:pt x="5667502" y="0"/>
                  </a:lnTo>
                  <a:lnTo>
                    <a:pt x="5715914" y="2059"/>
                  </a:lnTo>
                  <a:lnTo>
                    <a:pt x="5763183" y="8125"/>
                  </a:lnTo>
                  <a:lnTo>
                    <a:pt x="5809141" y="18030"/>
                  </a:lnTo>
                  <a:lnTo>
                    <a:pt x="5853617" y="31604"/>
                  </a:lnTo>
                  <a:lnTo>
                    <a:pt x="5896445" y="48680"/>
                  </a:lnTo>
                  <a:lnTo>
                    <a:pt x="5937455" y="69089"/>
                  </a:lnTo>
                  <a:lnTo>
                    <a:pt x="5976480" y="92663"/>
                  </a:lnTo>
                  <a:lnTo>
                    <a:pt x="6013351" y="119233"/>
                  </a:lnTo>
                  <a:lnTo>
                    <a:pt x="6047899" y="148631"/>
                  </a:lnTo>
                  <a:lnTo>
                    <a:pt x="6079956" y="180688"/>
                  </a:lnTo>
                  <a:lnTo>
                    <a:pt x="6109354" y="215236"/>
                  </a:lnTo>
                  <a:lnTo>
                    <a:pt x="6135924" y="252107"/>
                  </a:lnTo>
                  <a:lnTo>
                    <a:pt x="6159498" y="291132"/>
                  </a:lnTo>
                  <a:lnTo>
                    <a:pt x="6179907" y="332142"/>
                  </a:lnTo>
                  <a:lnTo>
                    <a:pt x="6196983" y="374970"/>
                  </a:lnTo>
                  <a:lnTo>
                    <a:pt x="6210557" y="419446"/>
                  </a:lnTo>
                  <a:lnTo>
                    <a:pt x="6220462" y="465404"/>
                  </a:lnTo>
                  <a:lnTo>
                    <a:pt x="6226528" y="512673"/>
                  </a:lnTo>
                  <a:lnTo>
                    <a:pt x="6228588" y="561086"/>
                  </a:lnTo>
                  <a:lnTo>
                    <a:pt x="6228588" y="2805430"/>
                  </a:lnTo>
                  <a:lnTo>
                    <a:pt x="6226528" y="2853842"/>
                  </a:lnTo>
                  <a:lnTo>
                    <a:pt x="6220462" y="2901111"/>
                  </a:lnTo>
                  <a:lnTo>
                    <a:pt x="6210557" y="2947069"/>
                  </a:lnTo>
                  <a:lnTo>
                    <a:pt x="6196983" y="2991545"/>
                  </a:lnTo>
                  <a:lnTo>
                    <a:pt x="6179907" y="3034373"/>
                  </a:lnTo>
                  <a:lnTo>
                    <a:pt x="6159498" y="3075383"/>
                  </a:lnTo>
                  <a:lnTo>
                    <a:pt x="6135924" y="3114408"/>
                  </a:lnTo>
                  <a:lnTo>
                    <a:pt x="6109354" y="3151279"/>
                  </a:lnTo>
                  <a:lnTo>
                    <a:pt x="6079956" y="3185827"/>
                  </a:lnTo>
                  <a:lnTo>
                    <a:pt x="6047899" y="3217884"/>
                  </a:lnTo>
                  <a:lnTo>
                    <a:pt x="6013351" y="3247282"/>
                  </a:lnTo>
                  <a:lnTo>
                    <a:pt x="5976480" y="3273852"/>
                  </a:lnTo>
                  <a:lnTo>
                    <a:pt x="5937455" y="3297426"/>
                  </a:lnTo>
                  <a:lnTo>
                    <a:pt x="5896445" y="3317835"/>
                  </a:lnTo>
                  <a:lnTo>
                    <a:pt x="5853617" y="3334911"/>
                  </a:lnTo>
                  <a:lnTo>
                    <a:pt x="5809141" y="3348485"/>
                  </a:lnTo>
                  <a:lnTo>
                    <a:pt x="5763183" y="3358390"/>
                  </a:lnTo>
                  <a:lnTo>
                    <a:pt x="5715914" y="3364456"/>
                  </a:lnTo>
                  <a:lnTo>
                    <a:pt x="5667502" y="3366516"/>
                  </a:lnTo>
                  <a:lnTo>
                    <a:pt x="561085" y="3366516"/>
                  </a:lnTo>
                  <a:lnTo>
                    <a:pt x="512673" y="3364456"/>
                  </a:lnTo>
                  <a:lnTo>
                    <a:pt x="465404" y="3358390"/>
                  </a:lnTo>
                  <a:lnTo>
                    <a:pt x="419446" y="3348485"/>
                  </a:lnTo>
                  <a:lnTo>
                    <a:pt x="374970" y="3334911"/>
                  </a:lnTo>
                  <a:lnTo>
                    <a:pt x="332142" y="3317835"/>
                  </a:lnTo>
                  <a:lnTo>
                    <a:pt x="291132" y="3297426"/>
                  </a:lnTo>
                  <a:lnTo>
                    <a:pt x="252107" y="3273852"/>
                  </a:lnTo>
                  <a:lnTo>
                    <a:pt x="215236" y="3247282"/>
                  </a:lnTo>
                  <a:lnTo>
                    <a:pt x="180688" y="3217884"/>
                  </a:lnTo>
                  <a:lnTo>
                    <a:pt x="148631" y="3185827"/>
                  </a:lnTo>
                  <a:lnTo>
                    <a:pt x="119233" y="3151279"/>
                  </a:lnTo>
                  <a:lnTo>
                    <a:pt x="92663" y="3114408"/>
                  </a:lnTo>
                  <a:lnTo>
                    <a:pt x="69089" y="3075383"/>
                  </a:lnTo>
                  <a:lnTo>
                    <a:pt x="48680" y="3034373"/>
                  </a:lnTo>
                  <a:lnTo>
                    <a:pt x="31604" y="2991545"/>
                  </a:lnTo>
                  <a:lnTo>
                    <a:pt x="18030" y="2947069"/>
                  </a:lnTo>
                  <a:lnTo>
                    <a:pt x="8125" y="2901111"/>
                  </a:lnTo>
                  <a:lnTo>
                    <a:pt x="2059" y="2853842"/>
                  </a:lnTo>
                  <a:lnTo>
                    <a:pt x="0" y="2805430"/>
                  </a:lnTo>
                  <a:lnTo>
                    <a:pt x="0" y="561086"/>
                  </a:lnTo>
                  <a:close/>
                </a:path>
              </a:pathLst>
            </a:custGeom>
            <a:ln w="1524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3080004" y="473963"/>
            <a:ext cx="5789930" cy="810895"/>
            <a:chOff x="3080004" y="473963"/>
            <a:chExt cx="5789930" cy="810895"/>
          </a:xfrm>
        </p:grpSpPr>
        <p:sp>
          <p:nvSpPr>
            <p:cNvPr id="6" name="object 6"/>
            <p:cNvSpPr/>
            <p:nvPr/>
          </p:nvSpPr>
          <p:spPr>
            <a:xfrm>
              <a:off x="3087624" y="481583"/>
              <a:ext cx="5774690" cy="795655"/>
            </a:xfrm>
            <a:custGeom>
              <a:avLst/>
              <a:gdLst/>
              <a:ahLst/>
              <a:cxnLst/>
              <a:rect l="l" t="t" r="r" b="b"/>
              <a:pathLst>
                <a:path w="5774690" h="795655">
                  <a:moveTo>
                    <a:pt x="5641848" y="0"/>
                  </a:moveTo>
                  <a:lnTo>
                    <a:pt x="132587" y="0"/>
                  </a:lnTo>
                  <a:lnTo>
                    <a:pt x="90659" y="6754"/>
                  </a:lnTo>
                  <a:lnTo>
                    <a:pt x="54260" y="25566"/>
                  </a:lnTo>
                  <a:lnTo>
                    <a:pt x="25566" y="54260"/>
                  </a:lnTo>
                  <a:lnTo>
                    <a:pt x="6754" y="90659"/>
                  </a:lnTo>
                  <a:lnTo>
                    <a:pt x="0" y="132587"/>
                  </a:lnTo>
                  <a:lnTo>
                    <a:pt x="0" y="662939"/>
                  </a:lnTo>
                  <a:lnTo>
                    <a:pt x="6754" y="704868"/>
                  </a:lnTo>
                  <a:lnTo>
                    <a:pt x="25566" y="741267"/>
                  </a:lnTo>
                  <a:lnTo>
                    <a:pt x="54260" y="769961"/>
                  </a:lnTo>
                  <a:lnTo>
                    <a:pt x="90659" y="788773"/>
                  </a:lnTo>
                  <a:lnTo>
                    <a:pt x="132587" y="795527"/>
                  </a:lnTo>
                  <a:lnTo>
                    <a:pt x="5641848" y="795527"/>
                  </a:lnTo>
                  <a:lnTo>
                    <a:pt x="5683776" y="788773"/>
                  </a:lnTo>
                  <a:lnTo>
                    <a:pt x="5720175" y="769961"/>
                  </a:lnTo>
                  <a:lnTo>
                    <a:pt x="5748869" y="741267"/>
                  </a:lnTo>
                  <a:lnTo>
                    <a:pt x="5767681" y="704868"/>
                  </a:lnTo>
                  <a:lnTo>
                    <a:pt x="5774435" y="662939"/>
                  </a:lnTo>
                  <a:lnTo>
                    <a:pt x="5774435" y="132587"/>
                  </a:lnTo>
                  <a:lnTo>
                    <a:pt x="5767681" y="90659"/>
                  </a:lnTo>
                  <a:lnTo>
                    <a:pt x="5748869" y="54260"/>
                  </a:lnTo>
                  <a:lnTo>
                    <a:pt x="5720175" y="25566"/>
                  </a:lnTo>
                  <a:lnTo>
                    <a:pt x="5683776" y="6754"/>
                  </a:lnTo>
                  <a:lnTo>
                    <a:pt x="5641848" y="0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087624" y="481583"/>
              <a:ext cx="5774690" cy="795655"/>
            </a:xfrm>
            <a:custGeom>
              <a:avLst/>
              <a:gdLst/>
              <a:ahLst/>
              <a:cxnLst/>
              <a:rect l="l" t="t" r="r" b="b"/>
              <a:pathLst>
                <a:path w="5774690" h="795655">
                  <a:moveTo>
                    <a:pt x="0" y="132587"/>
                  </a:moveTo>
                  <a:lnTo>
                    <a:pt x="6754" y="90659"/>
                  </a:lnTo>
                  <a:lnTo>
                    <a:pt x="25566" y="54260"/>
                  </a:lnTo>
                  <a:lnTo>
                    <a:pt x="54260" y="25566"/>
                  </a:lnTo>
                  <a:lnTo>
                    <a:pt x="90659" y="6754"/>
                  </a:lnTo>
                  <a:lnTo>
                    <a:pt x="132587" y="0"/>
                  </a:lnTo>
                  <a:lnTo>
                    <a:pt x="5641848" y="0"/>
                  </a:lnTo>
                  <a:lnTo>
                    <a:pt x="5683776" y="6754"/>
                  </a:lnTo>
                  <a:lnTo>
                    <a:pt x="5720175" y="25566"/>
                  </a:lnTo>
                  <a:lnTo>
                    <a:pt x="5748869" y="54260"/>
                  </a:lnTo>
                  <a:lnTo>
                    <a:pt x="5767681" y="90659"/>
                  </a:lnTo>
                  <a:lnTo>
                    <a:pt x="5774435" y="132587"/>
                  </a:lnTo>
                  <a:lnTo>
                    <a:pt x="5774435" y="662939"/>
                  </a:lnTo>
                  <a:lnTo>
                    <a:pt x="5767681" y="704868"/>
                  </a:lnTo>
                  <a:lnTo>
                    <a:pt x="5748869" y="741267"/>
                  </a:lnTo>
                  <a:lnTo>
                    <a:pt x="5720175" y="769961"/>
                  </a:lnTo>
                  <a:lnTo>
                    <a:pt x="5683776" y="788773"/>
                  </a:lnTo>
                  <a:lnTo>
                    <a:pt x="5641848" y="795527"/>
                  </a:lnTo>
                  <a:lnTo>
                    <a:pt x="132587" y="795527"/>
                  </a:lnTo>
                  <a:lnTo>
                    <a:pt x="90659" y="788773"/>
                  </a:lnTo>
                  <a:lnTo>
                    <a:pt x="54260" y="769961"/>
                  </a:lnTo>
                  <a:lnTo>
                    <a:pt x="25566" y="741267"/>
                  </a:lnTo>
                  <a:lnTo>
                    <a:pt x="6754" y="704868"/>
                  </a:lnTo>
                  <a:lnTo>
                    <a:pt x="0" y="662939"/>
                  </a:lnTo>
                  <a:lnTo>
                    <a:pt x="0" y="132587"/>
                  </a:lnTo>
                  <a:close/>
                </a:path>
              </a:pathLst>
            </a:custGeom>
            <a:ln w="1524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3659251" y="480543"/>
            <a:ext cx="4878070" cy="652780"/>
          </a:xfrm>
          <a:prstGeom prst="rect">
            <a:avLst/>
          </a:prstGeom>
        </p:spPr>
        <p:txBody>
          <a:bodyPr vert="horz" wrap="square" lIns="0" tIns="42544" rIns="0" bIns="0" rtlCol="0">
            <a:spAutoFit/>
          </a:bodyPr>
          <a:lstStyle/>
          <a:p>
            <a:pPr marR="360680" algn="ctr">
              <a:lnSpc>
                <a:spcPct val="100000"/>
              </a:lnSpc>
              <a:spcBef>
                <a:spcPts val="334"/>
              </a:spcBef>
            </a:pPr>
            <a:r>
              <a:rPr sz="2400" b="0" spc="-10" dirty="0">
                <a:solidFill>
                  <a:srgbClr val="033A73"/>
                </a:solidFill>
                <a:latin typeface="Arial"/>
                <a:cs typeface="Arial"/>
              </a:rPr>
              <a:t>Научные</a:t>
            </a:r>
            <a:r>
              <a:rPr sz="2400" b="0" spc="5" dirty="0">
                <a:solidFill>
                  <a:srgbClr val="033A73"/>
                </a:solidFill>
                <a:latin typeface="Arial"/>
                <a:cs typeface="Arial"/>
              </a:rPr>
              <a:t> </a:t>
            </a:r>
            <a:r>
              <a:rPr sz="2400" b="0" spc="-10" dirty="0">
                <a:solidFill>
                  <a:srgbClr val="033A73"/>
                </a:solidFill>
                <a:latin typeface="Arial"/>
                <a:cs typeface="Arial"/>
              </a:rPr>
              <a:t>организации</a:t>
            </a:r>
            <a:endParaRPr sz="24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40"/>
              </a:spcBef>
            </a:pPr>
            <a:r>
              <a:rPr sz="1400" b="0" dirty="0">
                <a:solidFill>
                  <a:srgbClr val="11468A"/>
                </a:solidFill>
                <a:latin typeface="Arial"/>
                <a:cs typeface="Arial"/>
              </a:rPr>
              <a:t>Аспиранты, </a:t>
            </a:r>
            <a:r>
              <a:rPr sz="1400" b="0" spc="-5" dirty="0">
                <a:solidFill>
                  <a:srgbClr val="11468A"/>
                </a:solidFill>
                <a:latin typeface="Arial"/>
                <a:cs typeface="Arial"/>
              </a:rPr>
              <a:t>научные </a:t>
            </a:r>
            <a:r>
              <a:rPr sz="1400" b="0" spc="-15" dirty="0">
                <a:solidFill>
                  <a:srgbClr val="11468A"/>
                </a:solidFill>
                <a:latin typeface="Arial"/>
                <a:cs typeface="Arial"/>
              </a:rPr>
              <a:t>сотрудники, </a:t>
            </a:r>
            <a:r>
              <a:rPr sz="1400" b="0" spc="-10" dirty="0">
                <a:solidFill>
                  <a:srgbClr val="11468A"/>
                </a:solidFill>
                <a:latin typeface="Arial"/>
                <a:cs typeface="Arial"/>
              </a:rPr>
              <a:t>лабораторные</a:t>
            </a:r>
            <a:r>
              <a:rPr sz="1400" b="0" spc="-2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b="0" spc="-5" dirty="0">
                <a:solidFill>
                  <a:srgbClr val="11468A"/>
                </a:solidFill>
                <a:latin typeface="Arial"/>
                <a:cs typeface="Arial"/>
              </a:rPr>
              <a:t>площадки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0" y="0"/>
            <a:ext cx="927100" cy="6858000"/>
          </a:xfrm>
          <a:custGeom>
            <a:avLst/>
            <a:gdLst/>
            <a:ahLst/>
            <a:cxnLst/>
            <a:rect l="l" t="t" r="r" b="b"/>
            <a:pathLst>
              <a:path w="927100" h="6858000">
                <a:moveTo>
                  <a:pt x="926591" y="0"/>
                </a:moveTo>
                <a:lnTo>
                  <a:pt x="0" y="0"/>
                </a:lnTo>
                <a:lnTo>
                  <a:pt x="0" y="6858000"/>
                </a:lnTo>
                <a:lnTo>
                  <a:pt x="926591" y="6858000"/>
                </a:lnTo>
                <a:lnTo>
                  <a:pt x="926591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04477" y="-1"/>
            <a:ext cx="718145" cy="601212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2755"/>
              </a:lnSpc>
            </a:pPr>
            <a:r>
              <a:rPr lang="ru-RU" sz="2700" spc="-5" dirty="0" smtClean="0">
                <a:solidFill>
                  <a:srgbClr val="FFFFFF"/>
                </a:solidFill>
                <a:latin typeface="Arial"/>
                <a:cs typeface="Arial"/>
              </a:rPr>
              <a:t>СУТЬ ПРОЕКТА, </a:t>
            </a:r>
            <a:br>
              <a:rPr lang="ru-RU" sz="2700" spc="-5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sz="2700" spc="-5" dirty="0" smtClean="0">
                <a:solidFill>
                  <a:srgbClr val="FFFFFF"/>
                </a:solidFill>
                <a:latin typeface="Arial"/>
                <a:cs typeface="Arial"/>
              </a:rPr>
              <a:t>КАК ПРОЕКТ БУДЕТ РАБОТАТЬ</a:t>
            </a:r>
            <a:endParaRPr lang="ru-RU" sz="2700" dirty="0"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3080004" y="5463540"/>
            <a:ext cx="5789930" cy="809625"/>
            <a:chOff x="3080004" y="5463540"/>
            <a:chExt cx="5789930" cy="809625"/>
          </a:xfrm>
        </p:grpSpPr>
        <p:sp>
          <p:nvSpPr>
            <p:cNvPr id="12" name="object 12"/>
            <p:cNvSpPr/>
            <p:nvPr/>
          </p:nvSpPr>
          <p:spPr>
            <a:xfrm>
              <a:off x="3087624" y="5471160"/>
              <a:ext cx="5774690" cy="794385"/>
            </a:xfrm>
            <a:custGeom>
              <a:avLst/>
              <a:gdLst/>
              <a:ahLst/>
              <a:cxnLst/>
              <a:rect l="l" t="t" r="r" b="b"/>
              <a:pathLst>
                <a:path w="5774690" h="794385">
                  <a:moveTo>
                    <a:pt x="5642102" y="0"/>
                  </a:moveTo>
                  <a:lnTo>
                    <a:pt x="132333" y="0"/>
                  </a:lnTo>
                  <a:lnTo>
                    <a:pt x="90529" y="6752"/>
                  </a:lnTo>
                  <a:lnTo>
                    <a:pt x="54205" y="25550"/>
                  </a:lnTo>
                  <a:lnTo>
                    <a:pt x="25550" y="54205"/>
                  </a:lnTo>
                  <a:lnTo>
                    <a:pt x="6752" y="90529"/>
                  </a:lnTo>
                  <a:lnTo>
                    <a:pt x="0" y="132333"/>
                  </a:lnTo>
                  <a:lnTo>
                    <a:pt x="0" y="661669"/>
                  </a:lnTo>
                  <a:lnTo>
                    <a:pt x="6752" y="703498"/>
                  </a:lnTo>
                  <a:lnTo>
                    <a:pt x="25550" y="739825"/>
                  </a:lnTo>
                  <a:lnTo>
                    <a:pt x="54205" y="768471"/>
                  </a:lnTo>
                  <a:lnTo>
                    <a:pt x="90529" y="787257"/>
                  </a:lnTo>
                  <a:lnTo>
                    <a:pt x="132333" y="794003"/>
                  </a:lnTo>
                  <a:lnTo>
                    <a:pt x="5642102" y="794003"/>
                  </a:lnTo>
                  <a:lnTo>
                    <a:pt x="5683906" y="787257"/>
                  </a:lnTo>
                  <a:lnTo>
                    <a:pt x="5720230" y="768471"/>
                  </a:lnTo>
                  <a:lnTo>
                    <a:pt x="5748885" y="739825"/>
                  </a:lnTo>
                  <a:lnTo>
                    <a:pt x="5767683" y="703498"/>
                  </a:lnTo>
                  <a:lnTo>
                    <a:pt x="5774435" y="661669"/>
                  </a:lnTo>
                  <a:lnTo>
                    <a:pt x="5774435" y="132333"/>
                  </a:lnTo>
                  <a:lnTo>
                    <a:pt x="5767683" y="90529"/>
                  </a:lnTo>
                  <a:lnTo>
                    <a:pt x="5748885" y="54205"/>
                  </a:lnTo>
                  <a:lnTo>
                    <a:pt x="5720230" y="25550"/>
                  </a:lnTo>
                  <a:lnTo>
                    <a:pt x="5683906" y="6752"/>
                  </a:lnTo>
                  <a:lnTo>
                    <a:pt x="5642102" y="0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087624" y="5471160"/>
              <a:ext cx="5774690" cy="794385"/>
            </a:xfrm>
            <a:custGeom>
              <a:avLst/>
              <a:gdLst/>
              <a:ahLst/>
              <a:cxnLst/>
              <a:rect l="l" t="t" r="r" b="b"/>
              <a:pathLst>
                <a:path w="5774690" h="794385">
                  <a:moveTo>
                    <a:pt x="0" y="132333"/>
                  </a:moveTo>
                  <a:lnTo>
                    <a:pt x="6752" y="90529"/>
                  </a:lnTo>
                  <a:lnTo>
                    <a:pt x="25550" y="54205"/>
                  </a:lnTo>
                  <a:lnTo>
                    <a:pt x="54205" y="25550"/>
                  </a:lnTo>
                  <a:lnTo>
                    <a:pt x="90529" y="6752"/>
                  </a:lnTo>
                  <a:lnTo>
                    <a:pt x="132333" y="0"/>
                  </a:lnTo>
                  <a:lnTo>
                    <a:pt x="5642102" y="0"/>
                  </a:lnTo>
                  <a:lnTo>
                    <a:pt x="5683906" y="6752"/>
                  </a:lnTo>
                  <a:lnTo>
                    <a:pt x="5720230" y="25550"/>
                  </a:lnTo>
                  <a:lnTo>
                    <a:pt x="5748885" y="54205"/>
                  </a:lnTo>
                  <a:lnTo>
                    <a:pt x="5767683" y="90529"/>
                  </a:lnTo>
                  <a:lnTo>
                    <a:pt x="5774435" y="132333"/>
                  </a:lnTo>
                  <a:lnTo>
                    <a:pt x="5774435" y="661669"/>
                  </a:lnTo>
                  <a:lnTo>
                    <a:pt x="5767683" y="703498"/>
                  </a:lnTo>
                  <a:lnTo>
                    <a:pt x="5748885" y="739825"/>
                  </a:lnTo>
                  <a:lnTo>
                    <a:pt x="5720230" y="768471"/>
                  </a:lnTo>
                  <a:lnTo>
                    <a:pt x="5683906" y="787257"/>
                  </a:lnTo>
                  <a:lnTo>
                    <a:pt x="5642102" y="794003"/>
                  </a:lnTo>
                  <a:lnTo>
                    <a:pt x="132333" y="794003"/>
                  </a:lnTo>
                  <a:lnTo>
                    <a:pt x="90529" y="787257"/>
                  </a:lnTo>
                  <a:lnTo>
                    <a:pt x="54205" y="768471"/>
                  </a:lnTo>
                  <a:lnTo>
                    <a:pt x="25550" y="739825"/>
                  </a:lnTo>
                  <a:lnTo>
                    <a:pt x="6752" y="703498"/>
                  </a:lnTo>
                  <a:lnTo>
                    <a:pt x="0" y="661669"/>
                  </a:lnTo>
                  <a:lnTo>
                    <a:pt x="0" y="132333"/>
                  </a:lnTo>
                  <a:close/>
                </a:path>
              </a:pathLst>
            </a:custGeom>
            <a:ln w="1524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3591305" y="5469604"/>
            <a:ext cx="4645025" cy="652780"/>
          </a:xfrm>
          <a:prstGeom prst="rect">
            <a:avLst/>
          </a:prstGeom>
        </p:spPr>
        <p:txBody>
          <a:bodyPr vert="horz" wrap="square" lIns="0" tIns="419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2400" spc="-10" dirty="0">
                <a:solidFill>
                  <a:srgbClr val="033A73"/>
                </a:solidFill>
                <a:latin typeface="Arial"/>
                <a:cs typeface="Arial"/>
              </a:rPr>
              <a:t>Высокотехнологичные</a:t>
            </a:r>
            <a:r>
              <a:rPr sz="2400" spc="-35" dirty="0">
                <a:solidFill>
                  <a:srgbClr val="033A73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33A73"/>
                </a:solidFill>
                <a:latin typeface="Arial"/>
                <a:cs typeface="Arial"/>
              </a:rPr>
              <a:t>компании</a:t>
            </a:r>
            <a:endParaRPr sz="2400">
              <a:latin typeface="Arial"/>
              <a:cs typeface="Arial"/>
            </a:endParaRPr>
          </a:p>
          <a:p>
            <a:pPr marL="80645">
              <a:lnSpc>
                <a:spcPct val="100000"/>
              </a:lnSpc>
              <a:spcBef>
                <a:spcPts val="145"/>
              </a:spcBef>
            </a:pP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Руководители </a:t>
            </a: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направлений,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пециалисты,</a:t>
            </a:r>
            <a:r>
              <a:rPr sz="1400" spc="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тажёры</a:t>
            </a:r>
            <a:endParaRPr sz="14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735451" y="3402329"/>
            <a:ext cx="4546600" cy="1520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4640" indent="-281940">
              <a:lnSpc>
                <a:spcPct val="100000"/>
              </a:lnSpc>
              <a:spcBef>
                <a:spcPts val="105"/>
              </a:spcBef>
              <a:buChar char="•"/>
              <a:tabLst>
                <a:tab pos="294005" algn="l"/>
                <a:tab pos="294640" algn="l"/>
              </a:tabLst>
            </a:pP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Поддержка </a:t>
            </a: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тематик</a:t>
            </a:r>
            <a:r>
              <a:rPr sz="1400" spc="-5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проектов</a:t>
            </a:r>
            <a:endParaRPr sz="1400">
              <a:latin typeface="Arial"/>
              <a:cs typeface="Arial"/>
            </a:endParaRPr>
          </a:p>
          <a:p>
            <a:pPr marL="294005" marR="5080" indent="-281940">
              <a:lnSpc>
                <a:spcPct val="100000"/>
              </a:lnSpc>
              <a:buChar char="•"/>
              <a:tabLst>
                <a:tab pos="294005" algn="l"/>
                <a:tab pos="294640" algn="l"/>
              </a:tabLst>
            </a:pP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Поддержка преемственности проектных,  </a:t>
            </a: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образовательных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и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инфраструктурных</a:t>
            </a:r>
            <a:r>
              <a:rPr sz="1400" spc="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30" dirty="0">
                <a:solidFill>
                  <a:srgbClr val="11468A"/>
                </a:solidFill>
                <a:latin typeface="Arial"/>
                <a:cs typeface="Arial"/>
              </a:rPr>
              <a:t>результатов</a:t>
            </a:r>
            <a:endParaRPr sz="1400">
              <a:latin typeface="Arial"/>
              <a:cs typeface="Arial"/>
            </a:endParaRPr>
          </a:p>
          <a:p>
            <a:pPr marL="294640" indent="-281940">
              <a:lnSpc>
                <a:spcPct val="100000"/>
              </a:lnSpc>
              <a:buChar char="•"/>
              <a:tabLst>
                <a:tab pos="294005" algn="l"/>
                <a:tab pos="294640" algn="l"/>
              </a:tabLst>
            </a:pP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Рефлексия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и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тиражирование</a:t>
            </a:r>
            <a:r>
              <a:rPr sz="1400" spc="-20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успешных</a:t>
            </a:r>
            <a:endParaRPr sz="1400">
              <a:latin typeface="Arial"/>
              <a:cs typeface="Arial"/>
            </a:endParaRPr>
          </a:p>
          <a:p>
            <a:pPr marL="294005">
              <a:lnSpc>
                <a:spcPct val="100000"/>
              </a:lnSpc>
            </a:pP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наставнических</a:t>
            </a:r>
            <a:r>
              <a:rPr sz="1400" spc="-4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практик</a:t>
            </a:r>
            <a:endParaRPr sz="1400">
              <a:latin typeface="Arial"/>
              <a:cs typeface="Arial"/>
            </a:endParaRPr>
          </a:p>
          <a:p>
            <a:pPr marL="294005" marR="1250315" indent="-281940">
              <a:lnSpc>
                <a:spcPct val="100000"/>
              </a:lnSpc>
              <a:buChar char="•"/>
              <a:tabLst>
                <a:tab pos="294005" algn="l"/>
                <a:tab pos="294640" algn="l"/>
              </a:tabLst>
            </a:pP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Формирование научно-инженерного  наставнического</a:t>
            </a:r>
            <a:r>
              <a:rPr sz="1400" spc="-50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ообщества</a:t>
            </a:r>
            <a:endParaRPr sz="14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735451" y="1816989"/>
            <a:ext cx="4598035" cy="13982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7305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solidFill>
                  <a:srgbClr val="033A73"/>
                </a:solidFill>
                <a:latin typeface="Arial"/>
                <a:cs typeface="Arial"/>
              </a:rPr>
              <a:t>Наставническая</a:t>
            </a:r>
            <a:r>
              <a:rPr sz="2400" spc="5" dirty="0">
                <a:solidFill>
                  <a:srgbClr val="033A73"/>
                </a:solidFill>
                <a:latin typeface="Arial"/>
                <a:cs typeface="Arial"/>
              </a:rPr>
              <a:t> </a:t>
            </a:r>
            <a:r>
              <a:rPr sz="2400" spc="-5" dirty="0">
                <a:solidFill>
                  <a:srgbClr val="033A73"/>
                </a:solidFill>
                <a:latin typeface="Arial"/>
                <a:cs typeface="Arial"/>
              </a:rPr>
              <a:t>программа</a:t>
            </a:r>
            <a:endParaRPr sz="2400">
              <a:latin typeface="Arial"/>
              <a:cs typeface="Arial"/>
            </a:endParaRPr>
          </a:p>
          <a:p>
            <a:pPr marL="294640" indent="-281940">
              <a:lnSpc>
                <a:spcPct val="100000"/>
              </a:lnSpc>
              <a:spcBef>
                <a:spcPts val="1200"/>
              </a:spcBef>
              <a:buChar char="•"/>
              <a:tabLst>
                <a:tab pos="294005" algn="l"/>
                <a:tab pos="294640" algn="l"/>
              </a:tabLst>
            </a:pP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Вовлечение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пециалистов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в</a:t>
            </a:r>
            <a:r>
              <a:rPr sz="1400" spc="-50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наставничество</a:t>
            </a:r>
            <a:endParaRPr sz="1400">
              <a:latin typeface="Arial"/>
              <a:cs typeface="Arial"/>
            </a:endParaRPr>
          </a:p>
          <a:p>
            <a:pPr marL="294640" indent="-281940">
              <a:lnSpc>
                <a:spcPct val="100000"/>
              </a:lnSpc>
              <a:buChar char="•"/>
              <a:tabLst>
                <a:tab pos="294005" algn="l"/>
                <a:tab pos="294640" algn="l"/>
              </a:tabLst>
            </a:pP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Обучение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и </a:t>
            </a: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подготовка</a:t>
            </a:r>
            <a:r>
              <a:rPr sz="1400" spc="-20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наставников</a:t>
            </a:r>
            <a:endParaRPr sz="1400">
              <a:latin typeface="Arial"/>
              <a:cs typeface="Arial"/>
            </a:endParaRPr>
          </a:p>
          <a:p>
            <a:pPr marL="294640" indent="-281940">
              <a:lnSpc>
                <a:spcPct val="100000"/>
              </a:lnSpc>
              <a:spcBef>
                <a:spcPts val="5"/>
              </a:spcBef>
              <a:buChar char="•"/>
              <a:tabLst>
                <a:tab pos="294005" algn="l"/>
                <a:tab pos="294640" algn="l"/>
              </a:tabLst>
            </a:pP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Экспертная поддержка наставников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в</a:t>
            </a:r>
            <a:r>
              <a:rPr sz="1400" spc="-35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практической</a:t>
            </a:r>
            <a:endParaRPr sz="1400">
              <a:latin typeface="Arial"/>
              <a:cs typeface="Arial"/>
            </a:endParaRPr>
          </a:p>
          <a:p>
            <a:pPr marL="294005">
              <a:lnSpc>
                <a:spcPct val="100000"/>
              </a:lnSpc>
            </a:pP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деятельности</a:t>
            </a:r>
            <a:endParaRPr sz="1400"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1245108" y="1712976"/>
            <a:ext cx="1193800" cy="3354704"/>
            <a:chOff x="1245108" y="1712976"/>
            <a:chExt cx="1193800" cy="3354704"/>
          </a:xfrm>
        </p:grpSpPr>
        <p:sp>
          <p:nvSpPr>
            <p:cNvPr id="18" name="object 18"/>
            <p:cNvSpPr/>
            <p:nvPr/>
          </p:nvSpPr>
          <p:spPr>
            <a:xfrm>
              <a:off x="1252728" y="1720596"/>
              <a:ext cx="1178560" cy="3339465"/>
            </a:xfrm>
            <a:custGeom>
              <a:avLst/>
              <a:gdLst/>
              <a:ahLst/>
              <a:cxnLst/>
              <a:rect l="l" t="t" r="r" b="b"/>
              <a:pathLst>
                <a:path w="1178560" h="3339465">
                  <a:moveTo>
                    <a:pt x="981710" y="0"/>
                  </a:moveTo>
                  <a:lnTo>
                    <a:pt x="196341" y="0"/>
                  </a:lnTo>
                  <a:lnTo>
                    <a:pt x="151315" y="5184"/>
                  </a:lnTo>
                  <a:lnTo>
                    <a:pt x="109986" y="19952"/>
                  </a:lnTo>
                  <a:lnTo>
                    <a:pt x="73531" y="43127"/>
                  </a:lnTo>
                  <a:lnTo>
                    <a:pt x="43127" y="73531"/>
                  </a:lnTo>
                  <a:lnTo>
                    <a:pt x="19952" y="109986"/>
                  </a:lnTo>
                  <a:lnTo>
                    <a:pt x="5184" y="151315"/>
                  </a:lnTo>
                  <a:lnTo>
                    <a:pt x="0" y="196341"/>
                  </a:lnTo>
                  <a:lnTo>
                    <a:pt x="0" y="3142741"/>
                  </a:lnTo>
                  <a:lnTo>
                    <a:pt x="5184" y="3187768"/>
                  </a:lnTo>
                  <a:lnTo>
                    <a:pt x="19952" y="3229097"/>
                  </a:lnTo>
                  <a:lnTo>
                    <a:pt x="43127" y="3265552"/>
                  </a:lnTo>
                  <a:lnTo>
                    <a:pt x="73531" y="3295956"/>
                  </a:lnTo>
                  <a:lnTo>
                    <a:pt x="109986" y="3319131"/>
                  </a:lnTo>
                  <a:lnTo>
                    <a:pt x="151315" y="3333899"/>
                  </a:lnTo>
                  <a:lnTo>
                    <a:pt x="196341" y="3339083"/>
                  </a:lnTo>
                  <a:lnTo>
                    <a:pt x="981710" y="3339083"/>
                  </a:lnTo>
                  <a:lnTo>
                    <a:pt x="1026736" y="3333899"/>
                  </a:lnTo>
                  <a:lnTo>
                    <a:pt x="1068065" y="3319131"/>
                  </a:lnTo>
                  <a:lnTo>
                    <a:pt x="1104520" y="3295956"/>
                  </a:lnTo>
                  <a:lnTo>
                    <a:pt x="1134924" y="3265552"/>
                  </a:lnTo>
                  <a:lnTo>
                    <a:pt x="1158099" y="3229097"/>
                  </a:lnTo>
                  <a:lnTo>
                    <a:pt x="1172867" y="3187768"/>
                  </a:lnTo>
                  <a:lnTo>
                    <a:pt x="1178052" y="3142741"/>
                  </a:lnTo>
                  <a:lnTo>
                    <a:pt x="1178052" y="196341"/>
                  </a:lnTo>
                  <a:lnTo>
                    <a:pt x="1172867" y="151315"/>
                  </a:lnTo>
                  <a:lnTo>
                    <a:pt x="1158099" y="109986"/>
                  </a:lnTo>
                  <a:lnTo>
                    <a:pt x="1134924" y="73531"/>
                  </a:lnTo>
                  <a:lnTo>
                    <a:pt x="1104520" y="43127"/>
                  </a:lnTo>
                  <a:lnTo>
                    <a:pt x="1068065" y="19952"/>
                  </a:lnTo>
                  <a:lnTo>
                    <a:pt x="1026736" y="5184"/>
                  </a:lnTo>
                  <a:lnTo>
                    <a:pt x="981710" y="0"/>
                  </a:lnTo>
                  <a:close/>
                </a:path>
              </a:pathLst>
            </a:custGeom>
            <a:solidFill>
              <a:srgbClr val="CCFFC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252728" y="1720596"/>
              <a:ext cx="1178560" cy="3339465"/>
            </a:xfrm>
            <a:custGeom>
              <a:avLst/>
              <a:gdLst/>
              <a:ahLst/>
              <a:cxnLst/>
              <a:rect l="l" t="t" r="r" b="b"/>
              <a:pathLst>
                <a:path w="1178560" h="3339465">
                  <a:moveTo>
                    <a:pt x="0" y="196341"/>
                  </a:moveTo>
                  <a:lnTo>
                    <a:pt x="5184" y="151315"/>
                  </a:lnTo>
                  <a:lnTo>
                    <a:pt x="19952" y="109986"/>
                  </a:lnTo>
                  <a:lnTo>
                    <a:pt x="43127" y="73531"/>
                  </a:lnTo>
                  <a:lnTo>
                    <a:pt x="73531" y="43127"/>
                  </a:lnTo>
                  <a:lnTo>
                    <a:pt x="109986" y="19952"/>
                  </a:lnTo>
                  <a:lnTo>
                    <a:pt x="151315" y="5184"/>
                  </a:lnTo>
                  <a:lnTo>
                    <a:pt x="196341" y="0"/>
                  </a:lnTo>
                  <a:lnTo>
                    <a:pt x="981710" y="0"/>
                  </a:lnTo>
                  <a:lnTo>
                    <a:pt x="1026736" y="5184"/>
                  </a:lnTo>
                  <a:lnTo>
                    <a:pt x="1068065" y="19952"/>
                  </a:lnTo>
                  <a:lnTo>
                    <a:pt x="1104520" y="43127"/>
                  </a:lnTo>
                  <a:lnTo>
                    <a:pt x="1134924" y="73531"/>
                  </a:lnTo>
                  <a:lnTo>
                    <a:pt x="1158099" y="109986"/>
                  </a:lnTo>
                  <a:lnTo>
                    <a:pt x="1172867" y="151315"/>
                  </a:lnTo>
                  <a:lnTo>
                    <a:pt x="1178052" y="196341"/>
                  </a:lnTo>
                  <a:lnTo>
                    <a:pt x="1178052" y="3142741"/>
                  </a:lnTo>
                  <a:lnTo>
                    <a:pt x="1172867" y="3187768"/>
                  </a:lnTo>
                  <a:lnTo>
                    <a:pt x="1158099" y="3229097"/>
                  </a:lnTo>
                  <a:lnTo>
                    <a:pt x="1134924" y="3265552"/>
                  </a:lnTo>
                  <a:lnTo>
                    <a:pt x="1104520" y="3295956"/>
                  </a:lnTo>
                  <a:lnTo>
                    <a:pt x="1068065" y="3319131"/>
                  </a:lnTo>
                  <a:lnTo>
                    <a:pt x="1026736" y="3333899"/>
                  </a:lnTo>
                  <a:lnTo>
                    <a:pt x="981710" y="3339083"/>
                  </a:lnTo>
                  <a:lnTo>
                    <a:pt x="196341" y="3339083"/>
                  </a:lnTo>
                  <a:lnTo>
                    <a:pt x="151315" y="3333899"/>
                  </a:lnTo>
                  <a:lnTo>
                    <a:pt x="109986" y="3319131"/>
                  </a:lnTo>
                  <a:lnTo>
                    <a:pt x="73531" y="3295956"/>
                  </a:lnTo>
                  <a:lnTo>
                    <a:pt x="43127" y="3265552"/>
                  </a:lnTo>
                  <a:lnTo>
                    <a:pt x="19952" y="3229097"/>
                  </a:lnTo>
                  <a:lnTo>
                    <a:pt x="5184" y="3187768"/>
                  </a:lnTo>
                  <a:lnTo>
                    <a:pt x="0" y="3142741"/>
                  </a:lnTo>
                  <a:lnTo>
                    <a:pt x="0" y="196341"/>
                  </a:lnTo>
                  <a:close/>
                </a:path>
              </a:pathLst>
            </a:custGeom>
            <a:ln w="1524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1582209" y="1879791"/>
            <a:ext cx="258532" cy="3086100"/>
          </a:xfrm>
          <a:prstGeom prst="rect">
            <a:avLst/>
          </a:prstGeom>
        </p:spPr>
        <p:txBody>
          <a:bodyPr vert="vert270" wrap="square" lIns="0" tIns="93345" rIns="0" bIns="0" rtlCol="0">
            <a:spAutoFit/>
          </a:bodyPr>
          <a:lstStyle/>
          <a:p>
            <a:pPr marL="603885" marR="5080" indent="-591820">
              <a:lnSpc>
                <a:spcPct val="70000"/>
              </a:lnSpc>
              <a:spcBef>
                <a:spcPts val="735"/>
              </a:spcBef>
            </a:pPr>
            <a:r>
              <a:rPr sz="2400" spc="-5" dirty="0" err="1">
                <a:solidFill>
                  <a:srgbClr val="033A73"/>
                </a:solidFill>
                <a:latin typeface="Arial"/>
                <a:cs typeface="Arial"/>
              </a:rPr>
              <a:t>Фонд</a:t>
            </a:r>
            <a:r>
              <a:rPr sz="2400" spc="-80" dirty="0">
                <a:solidFill>
                  <a:srgbClr val="033A73"/>
                </a:solidFill>
                <a:latin typeface="Arial"/>
                <a:cs typeface="Arial"/>
              </a:rPr>
              <a:t> </a:t>
            </a:r>
            <a:r>
              <a:rPr sz="2400" spc="-10" dirty="0" err="1" smtClean="0">
                <a:solidFill>
                  <a:srgbClr val="033A73"/>
                </a:solidFill>
                <a:latin typeface="Arial"/>
                <a:cs typeface="Arial"/>
              </a:rPr>
              <a:t>Образование</a:t>
            </a:r>
            <a:r>
              <a:rPr sz="2400" spc="-10" dirty="0" smtClean="0">
                <a:solidFill>
                  <a:srgbClr val="033A73"/>
                </a:solidFill>
                <a:latin typeface="Arial"/>
                <a:cs typeface="Arial"/>
              </a:rPr>
              <a:t>»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263141" y="618870"/>
            <a:ext cx="1484630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Педагоги </a:t>
            </a: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школ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и 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доп.</a:t>
            </a:r>
            <a:r>
              <a:rPr sz="1400" spc="-50" dirty="0">
                <a:solidFill>
                  <a:srgbClr val="11468A"/>
                </a:solidFill>
                <a:latin typeface="Arial"/>
                <a:cs typeface="Arial"/>
              </a:rPr>
              <a:t> </a:t>
            </a: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образования  </a:t>
            </a: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Родительское 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ообщество</a:t>
            </a:r>
            <a:endParaRPr sz="14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290319" y="5345379"/>
            <a:ext cx="1662430" cy="6667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400" spc="-10" dirty="0">
                <a:solidFill>
                  <a:srgbClr val="11468A"/>
                </a:solidFill>
                <a:latin typeface="Arial"/>
                <a:cs typeface="Arial"/>
              </a:rPr>
              <a:t>Вузовские 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и 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профе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сс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ио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н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ал</a:t>
            </a:r>
            <a:r>
              <a:rPr sz="1400" spc="-15" dirty="0">
                <a:solidFill>
                  <a:srgbClr val="11468A"/>
                </a:solidFill>
                <a:latin typeface="Arial"/>
                <a:cs typeface="Arial"/>
              </a:rPr>
              <a:t>ь</a:t>
            </a:r>
            <a:r>
              <a:rPr sz="1400" dirty="0">
                <a:solidFill>
                  <a:srgbClr val="11468A"/>
                </a:solidFill>
                <a:latin typeface="Arial"/>
                <a:cs typeface="Arial"/>
              </a:rPr>
              <a:t>ные  </a:t>
            </a:r>
            <a:r>
              <a:rPr sz="1400" spc="-5" dirty="0">
                <a:solidFill>
                  <a:srgbClr val="11468A"/>
                </a:solidFill>
                <a:latin typeface="Arial"/>
                <a:cs typeface="Arial"/>
              </a:rPr>
              <a:t>сообщества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9002268" y="501395"/>
            <a:ext cx="2721489" cy="576986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/>
          <p:nvPr/>
        </p:nvSpPr>
        <p:spPr>
          <a:xfrm>
            <a:off x="9767443" y="3061538"/>
            <a:ext cx="73723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5" dirty="0">
                <a:solidFill>
                  <a:srgbClr val="033A73"/>
                </a:solidFill>
                <a:latin typeface="Arial"/>
                <a:cs typeface="Arial"/>
              </a:rPr>
              <a:t>В</a:t>
            </a:r>
            <a:r>
              <a:rPr sz="2400" dirty="0">
                <a:solidFill>
                  <a:srgbClr val="033A73"/>
                </a:solidFill>
                <a:latin typeface="Arial"/>
                <a:cs typeface="Arial"/>
              </a:rPr>
              <a:t>узы</a:t>
            </a:r>
            <a:endParaRPr sz="2400">
              <a:latin typeface="Arial"/>
              <a:cs typeface="Arial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9171431" y="3098292"/>
            <a:ext cx="399415" cy="449580"/>
            <a:chOff x="9171431" y="3098292"/>
            <a:chExt cx="399415" cy="449580"/>
          </a:xfrm>
        </p:grpSpPr>
        <p:sp>
          <p:nvSpPr>
            <p:cNvPr id="26" name="object 26"/>
            <p:cNvSpPr/>
            <p:nvPr/>
          </p:nvSpPr>
          <p:spPr>
            <a:xfrm>
              <a:off x="9181337" y="3108198"/>
              <a:ext cx="379730" cy="429895"/>
            </a:xfrm>
            <a:custGeom>
              <a:avLst/>
              <a:gdLst/>
              <a:ahLst/>
              <a:cxnLst/>
              <a:rect l="l" t="t" r="r" b="b"/>
              <a:pathLst>
                <a:path w="379729" h="429895">
                  <a:moveTo>
                    <a:pt x="189737" y="0"/>
                  </a:moveTo>
                  <a:lnTo>
                    <a:pt x="189737" y="107441"/>
                  </a:lnTo>
                  <a:lnTo>
                    <a:pt x="0" y="107441"/>
                  </a:lnTo>
                  <a:lnTo>
                    <a:pt x="0" y="322325"/>
                  </a:lnTo>
                  <a:lnTo>
                    <a:pt x="189737" y="322325"/>
                  </a:lnTo>
                  <a:lnTo>
                    <a:pt x="189737" y="429767"/>
                  </a:lnTo>
                  <a:lnTo>
                    <a:pt x="379475" y="214884"/>
                  </a:lnTo>
                  <a:lnTo>
                    <a:pt x="189737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9181337" y="3108198"/>
              <a:ext cx="379730" cy="429895"/>
            </a:xfrm>
            <a:custGeom>
              <a:avLst/>
              <a:gdLst/>
              <a:ahLst/>
              <a:cxnLst/>
              <a:rect l="l" t="t" r="r" b="b"/>
              <a:pathLst>
                <a:path w="379729" h="429895">
                  <a:moveTo>
                    <a:pt x="0" y="107441"/>
                  </a:moveTo>
                  <a:lnTo>
                    <a:pt x="189737" y="107441"/>
                  </a:lnTo>
                  <a:lnTo>
                    <a:pt x="189737" y="0"/>
                  </a:lnTo>
                  <a:lnTo>
                    <a:pt x="379475" y="214884"/>
                  </a:lnTo>
                  <a:lnTo>
                    <a:pt x="189737" y="429767"/>
                  </a:lnTo>
                  <a:lnTo>
                    <a:pt x="189737" y="322325"/>
                  </a:lnTo>
                  <a:lnTo>
                    <a:pt x="0" y="322325"/>
                  </a:lnTo>
                  <a:lnTo>
                    <a:pt x="0" y="107441"/>
                  </a:lnTo>
                  <a:close/>
                </a:path>
              </a:pathLst>
            </a:custGeom>
            <a:ln w="19812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5689091" y="5103876"/>
            <a:ext cx="449580" cy="250190"/>
            <a:chOff x="5689091" y="5103876"/>
            <a:chExt cx="449580" cy="250190"/>
          </a:xfrm>
        </p:grpSpPr>
        <p:sp>
          <p:nvSpPr>
            <p:cNvPr id="29" name="object 29"/>
            <p:cNvSpPr/>
            <p:nvPr/>
          </p:nvSpPr>
          <p:spPr>
            <a:xfrm>
              <a:off x="5698997" y="5113782"/>
              <a:ext cx="429895" cy="230504"/>
            </a:xfrm>
            <a:custGeom>
              <a:avLst/>
              <a:gdLst/>
              <a:ahLst/>
              <a:cxnLst/>
              <a:rect l="l" t="t" r="r" b="b"/>
              <a:pathLst>
                <a:path w="429895" h="230504">
                  <a:moveTo>
                    <a:pt x="214884" y="0"/>
                  </a:moveTo>
                  <a:lnTo>
                    <a:pt x="0" y="115062"/>
                  </a:lnTo>
                  <a:lnTo>
                    <a:pt x="107441" y="115062"/>
                  </a:lnTo>
                  <a:lnTo>
                    <a:pt x="107441" y="230124"/>
                  </a:lnTo>
                  <a:lnTo>
                    <a:pt x="322325" y="230124"/>
                  </a:lnTo>
                  <a:lnTo>
                    <a:pt x="322325" y="115062"/>
                  </a:lnTo>
                  <a:lnTo>
                    <a:pt x="429767" y="115062"/>
                  </a:lnTo>
                  <a:lnTo>
                    <a:pt x="214884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5698997" y="5113782"/>
              <a:ext cx="429895" cy="230504"/>
            </a:xfrm>
            <a:custGeom>
              <a:avLst/>
              <a:gdLst/>
              <a:ahLst/>
              <a:cxnLst/>
              <a:rect l="l" t="t" r="r" b="b"/>
              <a:pathLst>
                <a:path w="429895" h="230504">
                  <a:moveTo>
                    <a:pt x="107441" y="230124"/>
                  </a:moveTo>
                  <a:lnTo>
                    <a:pt x="107441" y="115062"/>
                  </a:lnTo>
                  <a:lnTo>
                    <a:pt x="0" y="115062"/>
                  </a:lnTo>
                  <a:lnTo>
                    <a:pt x="214884" y="0"/>
                  </a:lnTo>
                  <a:lnTo>
                    <a:pt x="429767" y="115062"/>
                  </a:lnTo>
                  <a:lnTo>
                    <a:pt x="322325" y="115062"/>
                  </a:lnTo>
                  <a:lnTo>
                    <a:pt x="322325" y="230124"/>
                  </a:lnTo>
                  <a:lnTo>
                    <a:pt x="107441" y="230124"/>
                  </a:lnTo>
                  <a:close/>
                </a:path>
              </a:pathLst>
            </a:custGeom>
            <a:ln w="19812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31" name="object 31"/>
          <p:cNvGrpSpPr/>
          <p:nvPr/>
        </p:nvGrpSpPr>
        <p:grpSpPr>
          <a:xfrm>
            <a:off x="5727191" y="1385316"/>
            <a:ext cx="449580" cy="250190"/>
            <a:chOff x="5727191" y="1385316"/>
            <a:chExt cx="449580" cy="250190"/>
          </a:xfrm>
        </p:grpSpPr>
        <p:sp>
          <p:nvSpPr>
            <p:cNvPr id="32" name="object 32"/>
            <p:cNvSpPr/>
            <p:nvPr/>
          </p:nvSpPr>
          <p:spPr>
            <a:xfrm>
              <a:off x="5737097" y="1395222"/>
              <a:ext cx="429895" cy="230504"/>
            </a:xfrm>
            <a:custGeom>
              <a:avLst/>
              <a:gdLst/>
              <a:ahLst/>
              <a:cxnLst/>
              <a:rect l="l" t="t" r="r" b="b"/>
              <a:pathLst>
                <a:path w="429895" h="230505">
                  <a:moveTo>
                    <a:pt x="322325" y="0"/>
                  </a:moveTo>
                  <a:lnTo>
                    <a:pt x="107441" y="0"/>
                  </a:lnTo>
                  <a:lnTo>
                    <a:pt x="107441" y="115062"/>
                  </a:lnTo>
                  <a:lnTo>
                    <a:pt x="0" y="115062"/>
                  </a:lnTo>
                  <a:lnTo>
                    <a:pt x="214884" y="230124"/>
                  </a:lnTo>
                  <a:lnTo>
                    <a:pt x="429767" y="115062"/>
                  </a:lnTo>
                  <a:lnTo>
                    <a:pt x="322325" y="115062"/>
                  </a:lnTo>
                  <a:lnTo>
                    <a:pt x="322325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737097" y="1395222"/>
              <a:ext cx="429895" cy="230504"/>
            </a:xfrm>
            <a:custGeom>
              <a:avLst/>
              <a:gdLst/>
              <a:ahLst/>
              <a:cxnLst/>
              <a:rect l="l" t="t" r="r" b="b"/>
              <a:pathLst>
                <a:path w="429895" h="230505">
                  <a:moveTo>
                    <a:pt x="322325" y="0"/>
                  </a:moveTo>
                  <a:lnTo>
                    <a:pt x="322325" y="115062"/>
                  </a:lnTo>
                  <a:lnTo>
                    <a:pt x="429767" y="115062"/>
                  </a:lnTo>
                  <a:lnTo>
                    <a:pt x="214884" y="230124"/>
                  </a:lnTo>
                  <a:lnTo>
                    <a:pt x="0" y="115062"/>
                  </a:lnTo>
                  <a:lnTo>
                    <a:pt x="107441" y="115062"/>
                  </a:lnTo>
                  <a:lnTo>
                    <a:pt x="107441" y="0"/>
                  </a:lnTo>
                  <a:lnTo>
                    <a:pt x="322325" y="0"/>
                  </a:lnTo>
                  <a:close/>
                </a:path>
              </a:pathLst>
            </a:custGeom>
            <a:ln w="19812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/>
          <p:nvPr/>
        </p:nvSpPr>
        <p:spPr>
          <a:xfrm>
            <a:off x="1252727" y="633983"/>
            <a:ext cx="1481455" cy="1905"/>
          </a:xfrm>
          <a:custGeom>
            <a:avLst/>
            <a:gdLst/>
            <a:ahLst/>
            <a:cxnLst/>
            <a:rect l="l" t="t" r="r" b="b"/>
            <a:pathLst>
              <a:path w="1481455" h="1904">
                <a:moveTo>
                  <a:pt x="0" y="0"/>
                </a:moveTo>
                <a:lnTo>
                  <a:pt x="1481328" y="1524"/>
                </a:lnTo>
              </a:path>
            </a:pathLst>
          </a:custGeom>
          <a:ln w="15240">
            <a:solidFill>
              <a:srgbClr val="66BB2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316736" y="1557527"/>
            <a:ext cx="1099185" cy="1905"/>
          </a:xfrm>
          <a:custGeom>
            <a:avLst/>
            <a:gdLst/>
            <a:ahLst/>
            <a:cxnLst/>
            <a:rect l="l" t="t" r="r" b="b"/>
            <a:pathLst>
              <a:path w="1099185" h="1905">
                <a:moveTo>
                  <a:pt x="0" y="0"/>
                </a:moveTo>
                <a:lnTo>
                  <a:pt x="1098803" y="1524"/>
                </a:lnTo>
              </a:path>
            </a:pathLst>
          </a:custGeom>
          <a:ln w="15240">
            <a:solidFill>
              <a:srgbClr val="66BB2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316736" y="5225796"/>
            <a:ext cx="1099185" cy="1905"/>
          </a:xfrm>
          <a:custGeom>
            <a:avLst/>
            <a:gdLst/>
            <a:ahLst/>
            <a:cxnLst/>
            <a:rect l="l" t="t" r="r" b="b"/>
            <a:pathLst>
              <a:path w="1099185" h="1904">
                <a:moveTo>
                  <a:pt x="0" y="0"/>
                </a:moveTo>
                <a:lnTo>
                  <a:pt x="1098803" y="1523"/>
                </a:lnTo>
              </a:path>
            </a:pathLst>
          </a:custGeom>
          <a:ln w="15240">
            <a:solidFill>
              <a:srgbClr val="66BB2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7" name="object 37"/>
          <p:cNvGrpSpPr/>
          <p:nvPr/>
        </p:nvGrpSpPr>
        <p:grpSpPr>
          <a:xfrm>
            <a:off x="2421635" y="1406890"/>
            <a:ext cx="583565" cy="3943985"/>
            <a:chOff x="2421635" y="1406890"/>
            <a:chExt cx="583565" cy="3943985"/>
          </a:xfrm>
        </p:grpSpPr>
        <p:sp>
          <p:nvSpPr>
            <p:cNvPr id="38" name="object 38"/>
            <p:cNvSpPr/>
            <p:nvPr/>
          </p:nvSpPr>
          <p:spPr>
            <a:xfrm>
              <a:off x="2431541" y="3102102"/>
              <a:ext cx="381000" cy="431800"/>
            </a:xfrm>
            <a:custGeom>
              <a:avLst/>
              <a:gdLst/>
              <a:ahLst/>
              <a:cxnLst/>
              <a:rect l="l" t="t" r="r" b="b"/>
              <a:pathLst>
                <a:path w="381000" h="431800">
                  <a:moveTo>
                    <a:pt x="190500" y="0"/>
                  </a:moveTo>
                  <a:lnTo>
                    <a:pt x="190500" y="107823"/>
                  </a:lnTo>
                  <a:lnTo>
                    <a:pt x="0" y="107823"/>
                  </a:lnTo>
                  <a:lnTo>
                    <a:pt x="0" y="323469"/>
                  </a:lnTo>
                  <a:lnTo>
                    <a:pt x="190500" y="323469"/>
                  </a:lnTo>
                  <a:lnTo>
                    <a:pt x="190500" y="431292"/>
                  </a:lnTo>
                  <a:lnTo>
                    <a:pt x="381000" y="215646"/>
                  </a:lnTo>
                  <a:lnTo>
                    <a:pt x="190500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2431541" y="3102102"/>
              <a:ext cx="381000" cy="431800"/>
            </a:xfrm>
            <a:custGeom>
              <a:avLst/>
              <a:gdLst/>
              <a:ahLst/>
              <a:cxnLst/>
              <a:rect l="l" t="t" r="r" b="b"/>
              <a:pathLst>
                <a:path w="381000" h="431800">
                  <a:moveTo>
                    <a:pt x="0" y="107823"/>
                  </a:moveTo>
                  <a:lnTo>
                    <a:pt x="190500" y="107823"/>
                  </a:lnTo>
                  <a:lnTo>
                    <a:pt x="190500" y="0"/>
                  </a:lnTo>
                  <a:lnTo>
                    <a:pt x="381000" y="215646"/>
                  </a:lnTo>
                  <a:lnTo>
                    <a:pt x="190500" y="431292"/>
                  </a:lnTo>
                  <a:lnTo>
                    <a:pt x="190500" y="323469"/>
                  </a:lnTo>
                  <a:lnTo>
                    <a:pt x="0" y="323469"/>
                  </a:lnTo>
                  <a:lnTo>
                    <a:pt x="0" y="107823"/>
                  </a:lnTo>
                  <a:close/>
                </a:path>
              </a:pathLst>
            </a:custGeom>
            <a:ln w="19812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2580639" y="4976875"/>
              <a:ext cx="361315" cy="364490"/>
            </a:xfrm>
            <a:custGeom>
              <a:avLst/>
              <a:gdLst/>
              <a:ahLst/>
              <a:cxnLst/>
              <a:rect l="l" t="t" r="r" b="b"/>
              <a:pathLst>
                <a:path w="361314" h="364489">
                  <a:moveTo>
                    <a:pt x="62357" y="0"/>
                  </a:moveTo>
                  <a:lnTo>
                    <a:pt x="137033" y="77343"/>
                  </a:lnTo>
                  <a:lnTo>
                    <a:pt x="0" y="209676"/>
                  </a:lnTo>
                  <a:lnTo>
                    <a:pt x="149479" y="364363"/>
                  </a:lnTo>
                  <a:lnTo>
                    <a:pt x="286512" y="232029"/>
                  </a:lnTo>
                  <a:lnTo>
                    <a:pt x="361188" y="309499"/>
                  </a:lnTo>
                  <a:lnTo>
                    <a:pt x="348869" y="22351"/>
                  </a:lnTo>
                  <a:lnTo>
                    <a:pt x="62357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2580639" y="4976875"/>
              <a:ext cx="361315" cy="364490"/>
            </a:xfrm>
            <a:custGeom>
              <a:avLst/>
              <a:gdLst/>
              <a:ahLst/>
              <a:cxnLst/>
              <a:rect l="l" t="t" r="r" b="b"/>
              <a:pathLst>
                <a:path w="361314" h="364489">
                  <a:moveTo>
                    <a:pt x="0" y="209676"/>
                  </a:moveTo>
                  <a:lnTo>
                    <a:pt x="137033" y="77343"/>
                  </a:lnTo>
                  <a:lnTo>
                    <a:pt x="62357" y="0"/>
                  </a:lnTo>
                  <a:lnTo>
                    <a:pt x="348869" y="22351"/>
                  </a:lnTo>
                  <a:lnTo>
                    <a:pt x="361188" y="309499"/>
                  </a:lnTo>
                  <a:lnTo>
                    <a:pt x="286512" y="232029"/>
                  </a:lnTo>
                  <a:lnTo>
                    <a:pt x="149479" y="364363"/>
                  </a:lnTo>
                  <a:lnTo>
                    <a:pt x="0" y="209676"/>
                  </a:lnTo>
                  <a:close/>
                </a:path>
              </a:pathLst>
            </a:custGeom>
            <a:ln w="1908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2630169" y="1416431"/>
              <a:ext cx="365125" cy="370205"/>
            </a:xfrm>
            <a:custGeom>
              <a:avLst/>
              <a:gdLst/>
              <a:ahLst/>
              <a:cxnLst/>
              <a:rect l="l" t="t" r="r" b="b"/>
              <a:pathLst>
                <a:path w="365125" h="370205">
                  <a:moveTo>
                    <a:pt x="131953" y="0"/>
                  </a:moveTo>
                  <a:lnTo>
                    <a:pt x="0" y="168910"/>
                  </a:lnTo>
                  <a:lnTo>
                    <a:pt x="149479" y="285623"/>
                  </a:lnTo>
                  <a:lnTo>
                    <a:pt x="83438" y="370078"/>
                  </a:lnTo>
                  <a:lnTo>
                    <a:pt x="364871" y="318008"/>
                  </a:lnTo>
                  <a:lnTo>
                    <a:pt x="347344" y="32385"/>
                  </a:lnTo>
                  <a:lnTo>
                    <a:pt x="281431" y="116840"/>
                  </a:lnTo>
                  <a:lnTo>
                    <a:pt x="131953" y="0"/>
                  </a:lnTo>
                  <a:close/>
                </a:path>
              </a:pathLst>
            </a:custGeom>
            <a:solidFill>
              <a:srgbClr val="92D050">
                <a:alpha val="3294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2630169" y="1416431"/>
              <a:ext cx="365125" cy="370205"/>
            </a:xfrm>
            <a:custGeom>
              <a:avLst/>
              <a:gdLst/>
              <a:ahLst/>
              <a:cxnLst/>
              <a:rect l="l" t="t" r="r" b="b"/>
              <a:pathLst>
                <a:path w="365125" h="370205">
                  <a:moveTo>
                    <a:pt x="131953" y="0"/>
                  </a:moveTo>
                  <a:lnTo>
                    <a:pt x="281431" y="116840"/>
                  </a:lnTo>
                  <a:lnTo>
                    <a:pt x="347344" y="32385"/>
                  </a:lnTo>
                  <a:lnTo>
                    <a:pt x="364871" y="318008"/>
                  </a:lnTo>
                  <a:lnTo>
                    <a:pt x="83438" y="370078"/>
                  </a:lnTo>
                  <a:lnTo>
                    <a:pt x="149479" y="285623"/>
                  </a:lnTo>
                  <a:lnTo>
                    <a:pt x="0" y="168910"/>
                  </a:lnTo>
                  <a:lnTo>
                    <a:pt x="131953" y="0"/>
                  </a:lnTo>
                  <a:close/>
                </a:path>
              </a:pathLst>
            </a:custGeom>
            <a:ln w="19080">
              <a:solidFill>
                <a:srgbClr val="66BB2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4" name="object 44"/>
          <p:cNvSpPr/>
          <p:nvPr/>
        </p:nvSpPr>
        <p:spPr>
          <a:xfrm>
            <a:off x="1316736" y="6096000"/>
            <a:ext cx="1480185" cy="1905"/>
          </a:xfrm>
          <a:custGeom>
            <a:avLst/>
            <a:gdLst/>
            <a:ahLst/>
            <a:cxnLst/>
            <a:rect l="l" t="t" r="r" b="b"/>
            <a:pathLst>
              <a:path w="1480185" h="1904">
                <a:moveTo>
                  <a:pt x="0" y="0"/>
                </a:moveTo>
                <a:lnTo>
                  <a:pt x="1479803" y="1523"/>
                </a:lnTo>
              </a:path>
            </a:pathLst>
          </a:custGeom>
          <a:ln w="15240">
            <a:solidFill>
              <a:srgbClr val="66BB2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0" y="6057898"/>
            <a:ext cx="984504" cy="78790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3807298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86963"/>
            <a:ext cx="11252200" cy="4068763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2200" b="1" dirty="0" smtClean="0"/>
              <a:t>Люди, имеющие предметные знания</a:t>
            </a:r>
            <a:r>
              <a:rPr lang="ru-RU" sz="2200" dirty="0" smtClean="0"/>
              <a:t> и желающие стать наставниками (учителя-предметники </a:t>
            </a:r>
            <a:r>
              <a:rPr lang="ru-RU" sz="2200" dirty="0"/>
              <a:t>среднего общего  </a:t>
            </a:r>
            <a:r>
              <a:rPr lang="ru-RU" sz="2200" dirty="0" smtClean="0"/>
              <a:t>образования</a:t>
            </a:r>
            <a:r>
              <a:rPr lang="en-US" sz="2200" dirty="0" smtClean="0"/>
              <a:t> ~</a:t>
            </a:r>
            <a:r>
              <a:rPr lang="ru-RU" sz="2200" dirty="0" smtClean="0"/>
              <a:t> 1300тыс.чел, </a:t>
            </a:r>
            <a:r>
              <a:rPr lang="ru-RU" sz="2200" dirty="0"/>
              <a:t>Преподаватели </a:t>
            </a:r>
            <a:r>
              <a:rPr lang="ru-RU" sz="2200" dirty="0" smtClean="0"/>
              <a:t>ВУЗов </a:t>
            </a:r>
            <a:r>
              <a:rPr lang="en-US" sz="2200" dirty="0"/>
              <a:t>~</a:t>
            </a:r>
            <a:r>
              <a:rPr lang="ru-RU" sz="2200" dirty="0" smtClean="0"/>
              <a:t> 208 </a:t>
            </a:r>
            <a:r>
              <a:rPr lang="ru-RU" sz="2200" dirty="0" err="1" smtClean="0"/>
              <a:t>тыс.чел</a:t>
            </a:r>
            <a:r>
              <a:rPr lang="en-US" sz="2200" dirty="0" smtClean="0"/>
              <a:t>) </a:t>
            </a:r>
            <a:r>
              <a:rPr lang="ru-RU" sz="2200" dirty="0" smtClean="0"/>
              <a:t>научатся делать научно-исследовательские проекты, управлять проектами и разновозрастными командами</a:t>
            </a:r>
            <a:endParaRPr lang="ru-RU" sz="2200" dirty="0"/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2200" b="1" dirty="0" smtClean="0"/>
              <a:t>Люди, имеющие опыт выполнения проектов</a:t>
            </a:r>
            <a:r>
              <a:rPr lang="ru-RU" sz="2200" dirty="0" smtClean="0"/>
              <a:t> со школьниками (Родители </a:t>
            </a:r>
            <a:r>
              <a:rPr lang="en-US" sz="2200" dirty="0" smtClean="0"/>
              <a:t>~</a:t>
            </a:r>
            <a:r>
              <a:rPr lang="ru-RU" sz="2200" dirty="0" smtClean="0"/>
              <a:t> 38600тыс.чел, педагоги-организаторы и </a:t>
            </a:r>
            <a:r>
              <a:rPr lang="ru-RU" sz="2200" dirty="0"/>
              <a:t>п</a:t>
            </a:r>
            <a:r>
              <a:rPr lang="ru-RU" sz="2200" dirty="0" smtClean="0"/>
              <a:t>едагоги </a:t>
            </a:r>
            <a:r>
              <a:rPr lang="ru-RU" sz="2200" dirty="0"/>
              <a:t>дополнительного </a:t>
            </a:r>
            <a:r>
              <a:rPr lang="ru-RU" sz="2200" dirty="0" smtClean="0"/>
              <a:t>образования </a:t>
            </a:r>
            <a:r>
              <a:rPr lang="en-US" sz="2200" dirty="0" smtClean="0"/>
              <a:t>~ 242 </a:t>
            </a:r>
            <a:r>
              <a:rPr lang="ru-RU" sz="2200" dirty="0" err="1" smtClean="0"/>
              <a:t>тыс.чел</a:t>
            </a:r>
            <a:r>
              <a:rPr lang="ru-RU" sz="2200" dirty="0" smtClean="0"/>
              <a:t>.) получат компетенции в предметной области</a:t>
            </a:r>
            <a:endParaRPr lang="ru-RU" sz="2200" dirty="0"/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2200" b="1" dirty="0" smtClean="0"/>
              <a:t>Руководители организаций</a:t>
            </a:r>
            <a:r>
              <a:rPr lang="ru-RU" sz="2200" dirty="0" smtClean="0"/>
              <a:t>, заинтересованные в выполнении интересных проектов (руководители </a:t>
            </a:r>
            <a:r>
              <a:rPr lang="ru-RU" sz="2200" dirty="0"/>
              <a:t>муниципальных </a:t>
            </a:r>
            <a:r>
              <a:rPr lang="ru-RU" sz="2200" dirty="0" smtClean="0"/>
              <a:t>ресурсных центров 225,6тыс., библиотек </a:t>
            </a:r>
            <a:r>
              <a:rPr lang="en-US" sz="2200" dirty="0" smtClean="0"/>
              <a:t>~39</a:t>
            </a:r>
            <a:r>
              <a:rPr lang="ru-RU" sz="2200" dirty="0" smtClean="0"/>
              <a:t>тыс. и иных организаций) получат интересные проекты</a:t>
            </a:r>
            <a:endParaRPr lang="ru-RU" sz="2200" dirty="0"/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2200" b="1" dirty="0" smtClean="0"/>
              <a:t>Школьники, студенты </a:t>
            </a:r>
            <a:r>
              <a:rPr lang="ru-RU" sz="2200" b="1" dirty="0"/>
              <a:t>и аспиранты </a:t>
            </a:r>
            <a:r>
              <a:rPr lang="ru-RU" sz="2200" b="1" dirty="0" smtClean="0"/>
              <a:t>ВУЗов</a:t>
            </a:r>
            <a:r>
              <a:rPr lang="ru-RU" sz="2200" dirty="0"/>
              <a:t> </a:t>
            </a:r>
            <a:r>
              <a:rPr lang="ru-RU" sz="2200" dirty="0" smtClean="0"/>
              <a:t>(</a:t>
            </a:r>
            <a:r>
              <a:rPr lang="en-US" sz="2200" dirty="0" smtClean="0"/>
              <a:t>~ </a:t>
            </a:r>
            <a:r>
              <a:rPr lang="ru-RU" sz="2200" dirty="0" smtClean="0"/>
              <a:t>1</a:t>
            </a:r>
            <a:r>
              <a:rPr lang="en-US" sz="2200" dirty="0" smtClean="0"/>
              <a:t>9300</a:t>
            </a:r>
            <a:r>
              <a:rPr lang="ru-RU" sz="2200" dirty="0" err="1" smtClean="0"/>
              <a:t>тыс.чел</a:t>
            </a:r>
            <a:r>
              <a:rPr lang="ru-RU" sz="2200" dirty="0" smtClean="0"/>
              <a:t>.) </a:t>
            </a:r>
            <a:r>
              <a:rPr lang="ru-RU" sz="2200" dirty="0"/>
              <a:t>начнут </a:t>
            </a:r>
            <a:r>
              <a:rPr lang="ru-RU" sz="2200" dirty="0" smtClean="0"/>
              <a:t>заниматься полезными интересными проектами с наставниками, имеющими нужные компетенции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2200" b="1" dirty="0"/>
              <a:t>Сотрудники научных </a:t>
            </a:r>
            <a:r>
              <a:rPr lang="ru-RU" sz="2200" b="1" dirty="0" smtClean="0"/>
              <a:t>организаций </a:t>
            </a:r>
            <a:r>
              <a:rPr lang="en-US" sz="2200" dirty="0" smtClean="0"/>
              <a:t>(~4</a:t>
            </a:r>
            <a:r>
              <a:rPr lang="ru-RU" sz="2200" dirty="0" smtClean="0"/>
              <a:t>тыс.)</a:t>
            </a:r>
            <a:r>
              <a:rPr lang="ru-RU" sz="2200" b="1" dirty="0" smtClean="0"/>
              <a:t>, </a:t>
            </a:r>
            <a:r>
              <a:rPr lang="ru-RU" sz="2200" b="1" dirty="0"/>
              <a:t>высокотехнологичных и инновационных компаний </a:t>
            </a:r>
            <a:r>
              <a:rPr lang="ru-RU" sz="2200" dirty="0" smtClean="0"/>
              <a:t>(</a:t>
            </a:r>
            <a:r>
              <a:rPr lang="en-US" sz="2200" dirty="0" smtClean="0"/>
              <a:t>~ </a:t>
            </a:r>
            <a:r>
              <a:rPr lang="ru-RU" sz="2200" dirty="0" smtClean="0"/>
              <a:t>40тыс) получат новые идеи бизнеса и заинтересованных, ярких, ответственных сотрудников, умеющих выполнять сложные проекты</a:t>
            </a:r>
            <a:endParaRPr lang="ru-RU" sz="22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B050"/>
                </a:solidFill>
              </a:rPr>
              <a:t>Анализ рынка, целевые сегменты</a:t>
            </a:r>
          </a:p>
        </p:txBody>
      </p:sp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782819"/>
            <a:ext cx="11252200" cy="4068763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880 </a:t>
            </a:r>
            <a:r>
              <a:rPr lang="ru-RU" sz="2700" b="1" dirty="0" smtClean="0">
                <a:solidFill>
                  <a:srgbClr val="00B050"/>
                </a:solidFill>
              </a:rPr>
              <a:t>человек</a:t>
            </a:r>
            <a:r>
              <a:rPr lang="ru-RU" sz="2700" dirty="0" smtClean="0"/>
              <a:t> </a:t>
            </a:r>
            <a:r>
              <a:rPr lang="ru-RU" sz="2700" dirty="0" smtClean="0"/>
              <a:t>приняли участие</a:t>
            </a:r>
            <a:br>
              <a:rPr lang="ru-RU" sz="2700" dirty="0" smtClean="0"/>
            </a:br>
            <a:r>
              <a:rPr lang="ru-RU" sz="2700" dirty="0" smtClean="0"/>
              <a:t>в </a:t>
            </a:r>
            <a:r>
              <a:rPr lang="ru-RU" sz="2700" dirty="0"/>
              <a:t>мероприятиях проекта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150 </a:t>
            </a:r>
            <a:r>
              <a:rPr lang="ru-RU" sz="2700" b="1" dirty="0" smtClean="0">
                <a:solidFill>
                  <a:srgbClr val="00B050"/>
                </a:solidFill>
              </a:rPr>
              <a:t>человек</a:t>
            </a:r>
            <a:r>
              <a:rPr lang="ru-RU" sz="2700" dirty="0" smtClean="0">
                <a:solidFill>
                  <a:srgbClr val="00B050"/>
                </a:solidFill>
              </a:rPr>
              <a:t> </a:t>
            </a:r>
            <a:r>
              <a:rPr lang="ru-RU" sz="2700" dirty="0" smtClean="0"/>
              <a:t>получили услуги</a:t>
            </a:r>
            <a:br>
              <a:rPr lang="ru-RU" sz="2700" dirty="0" smtClean="0"/>
            </a:br>
            <a:r>
              <a:rPr lang="ru-RU" sz="2700" dirty="0" smtClean="0"/>
              <a:t>в </a:t>
            </a:r>
            <a:r>
              <a:rPr lang="ru-RU" sz="2700" dirty="0"/>
              <a:t>сфере </a:t>
            </a:r>
            <a:r>
              <a:rPr lang="ru-RU" sz="2700" dirty="0" smtClean="0"/>
              <a:t>образования, </a:t>
            </a:r>
            <a:r>
              <a:rPr lang="ru-RU" sz="2700" dirty="0"/>
              <a:t>просвещения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31 </a:t>
            </a:r>
            <a:r>
              <a:rPr lang="ru-RU" sz="2700" b="1" dirty="0" smtClean="0">
                <a:solidFill>
                  <a:srgbClr val="00B050"/>
                </a:solidFill>
              </a:rPr>
              <a:t>проект </a:t>
            </a:r>
            <a:r>
              <a:rPr lang="ru-RU" sz="2700" dirty="0" smtClean="0"/>
              <a:t>реализован</a:t>
            </a:r>
            <a:br>
              <a:rPr lang="ru-RU" sz="2700" dirty="0" smtClean="0"/>
            </a:br>
            <a:r>
              <a:rPr lang="ru-RU" sz="2700" dirty="0" smtClean="0"/>
              <a:t>под </a:t>
            </a:r>
            <a:r>
              <a:rPr lang="ru-RU" sz="2700" dirty="0"/>
              <a:t>руководством наставник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84 </a:t>
            </a:r>
            <a:r>
              <a:rPr lang="ru-RU" sz="2700" b="1" dirty="0" smtClean="0">
                <a:solidFill>
                  <a:srgbClr val="00B050"/>
                </a:solidFill>
              </a:rPr>
              <a:t>наставника </a:t>
            </a:r>
            <a:r>
              <a:rPr lang="ru-RU" sz="2700" dirty="0"/>
              <a:t>прошли </a:t>
            </a:r>
            <a:r>
              <a:rPr lang="ru-RU" sz="2700" dirty="0" smtClean="0"/>
              <a:t>обучение</a:t>
            </a:r>
            <a:br>
              <a:rPr lang="ru-RU" sz="2700" dirty="0" smtClean="0"/>
            </a:br>
            <a:r>
              <a:rPr lang="ru-RU" sz="2700" dirty="0" smtClean="0"/>
              <a:t>на </a:t>
            </a:r>
            <a:r>
              <a:rPr lang="ru-RU" sz="2700" dirty="0"/>
              <a:t>очном курсе школы наставник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10 образовательных учреждений</a:t>
            </a:r>
            <a:r>
              <a:rPr lang="ru-RU" sz="2700" dirty="0"/>
              <a:t>, ученики которых реализовали и представили научно-исследовательский проект под руководством наставник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700" b="1" dirty="0">
                <a:solidFill>
                  <a:srgbClr val="00B050"/>
                </a:solidFill>
              </a:rPr>
              <a:t>68 презентаций проектов</a:t>
            </a:r>
            <a:r>
              <a:rPr lang="ru-RU" sz="2700" dirty="0"/>
              <a:t>, выполненных под руководством выпускников Школы наставников, представлены на новосибирских и региональных научных конференциях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89610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dirty="0" smtClean="0">
                <a:solidFill>
                  <a:srgbClr val="00B050"/>
                </a:solidFill>
              </a:rPr>
              <a:t>Уже достигнутые результаты </a:t>
            </a:r>
            <a:r>
              <a:rPr lang="ru-RU" sz="3600" dirty="0">
                <a:solidFill>
                  <a:srgbClr val="00B050"/>
                </a:solidFill>
              </a:rPr>
              <a:t>проекта </a:t>
            </a:r>
          </a:p>
        </p:txBody>
      </p:sp>
      <p:pic>
        <p:nvPicPr>
          <p:cNvPr id="6" name="Picture 2" descr="C:\Users\User\YandexDisk\Фонд Образование\Наставничество\ШН Новосибирск\Фото\IMG_357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538" y="819236"/>
            <a:ext cx="5263661" cy="3437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2700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163517"/>
            <a:ext cx="11252200" cy="40687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2700" b="1" dirty="0" smtClean="0"/>
              <a:t>Доработана методика</a:t>
            </a:r>
            <a:r>
              <a:rPr lang="ru-RU" sz="2700" dirty="0" smtClean="0"/>
              <a:t> </a:t>
            </a:r>
            <a:r>
              <a:rPr lang="ru-RU" sz="2700" dirty="0"/>
              <a:t>подготовки наставников </a:t>
            </a:r>
            <a:r>
              <a:rPr lang="ru-RU" sz="2700" dirty="0" smtClean="0"/>
              <a:t>научно-исследовательских проектов в области Химии, Биологии, </a:t>
            </a:r>
            <a:r>
              <a:rPr lang="ru-RU" sz="2700" dirty="0"/>
              <a:t>Квантовой физики, Цифровая </a:t>
            </a:r>
            <a:r>
              <a:rPr lang="ru-RU" sz="2700" dirty="0" err="1" smtClean="0"/>
              <a:t>гуманитаристики</a:t>
            </a:r>
            <a:r>
              <a:rPr lang="ru-RU" sz="2700" dirty="0" smtClean="0"/>
              <a:t> и </a:t>
            </a:r>
            <a:r>
              <a:rPr lang="ru-RU" sz="2700" dirty="0" err="1" smtClean="0"/>
              <a:t>Нейротехнологий</a:t>
            </a:r>
            <a:r>
              <a:rPr lang="ru-RU" sz="2700" dirty="0" smtClean="0"/>
              <a:t> </a:t>
            </a:r>
            <a:endParaRPr lang="ru-RU" sz="2700" dirty="0"/>
          </a:p>
          <a:p>
            <a:pPr>
              <a:spcBef>
                <a:spcPts val="0"/>
              </a:spcBef>
            </a:pPr>
            <a:r>
              <a:rPr lang="ru-RU" sz="2700" dirty="0" smtClean="0"/>
              <a:t>Подготовлено не менее 125 </a:t>
            </a:r>
            <a:r>
              <a:rPr lang="ru-RU" sz="2700" dirty="0"/>
              <a:t>квалифицированных </a:t>
            </a:r>
            <a:r>
              <a:rPr lang="ru-RU" sz="2700" dirty="0" smtClean="0"/>
              <a:t>наставников, </a:t>
            </a:r>
            <a:r>
              <a:rPr lang="ru-RU" sz="2700" dirty="0"/>
              <a:t>способных работать со школьниками и </a:t>
            </a:r>
            <a:r>
              <a:rPr lang="ru-RU" sz="2700" dirty="0" smtClean="0"/>
              <a:t>студентами, имеющими:</a:t>
            </a:r>
          </a:p>
          <a:p>
            <a:pPr lvl="1">
              <a:spcBef>
                <a:spcPts val="0"/>
              </a:spcBef>
            </a:pPr>
            <a:r>
              <a:rPr lang="ru-RU" dirty="0"/>
              <a:t>Научно-исследовательское, творческое, логическое, критическое и проектное мышление</a:t>
            </a:r>
          </a:p>
          <a:p>
            <a:pPr lvl="1">
              <a:spcBef>
                <a:spcPts val="0"/>
              </a:spcBef>
            </a:pPr>
            <a:r>
              <a:rPr lang="ru-RU" dirty="0"/>
              <a:t>Лидерские, коммуникативные, личностные и профессиональные компетенции</a:t>
            </a:r>
          </a:p>
          <a:p>
            <a:pPr lvl="1">
              <a:spcBef>
                <a:spcPts val="0"/>
              </a:spcBef>
            </a:pPr>
            <a:r>
              <a:rPr lang="ru-RU" dirty="0"/>
              <a:t>Умение думать </a:t>
            </a:r>
            <a:r>
              <a:rPr lang="ru-RU" dirty="0" smtClean="0"/>
              <a:t>и решать научно-исследовательские задачи</a:t>
            </a:r>
            <a:endParaRPr lang="ru-RU" dirty="0"/>
          </a:p>
          <a:p>
            <a:pPr>
              <a:spcBef>
                <a:spcPts val="0"/>
              </a:spcBef>
            </a:pPr>
            <a:r>
              <a:rPr lang="ru-RU" sz="2700" dirty="0" smtClean="0"/>
              <a:t>Проведено 2 и более образовательных программ, объединяющих </a:t>
            </a:r>
            <a:r>
              <a:rPr lang="ru-RU" sz="2700" dirty="0"/>
              <a:t>школьников, студентов и </a:t>
            </a:r>
            <a:r>
              <a:rPr lang="ru-RU" sz="2700" dirty="0" smtClean="0"/>
              <a:t>наставников-предпринимателей</a:t>
            </a:r>
          </a:p>
          <a:p>
            <a:pPr>
              <a:spcBef>
                <a:spcPts val="0"/>
              </a:spcBef>
            </a:pPr>
            <a:r>
              <a:rPr lang="ru-RU" sz="2700" dirty="0" smtClean="0"/>
              <a:t>Проведено </a:t>
            </a:r>
            <a:r>
              <a:rPr lang="ru-RU" sz="2700" dirty="0"/>
              <a:t>сопровождение наставников, экспертиза </a:t>
            </a:r>
            <a:r>
              <a:rPr lang="ru-RU" sz="2700" dirty="0" smtClean="0"/>
              <a:t>школьных проектов и продвижение </a:t>
            </a:r>
            <a:r>
              <a:rPr lang="ru-RU" sz="2700" dirty="0"/>
              <a:t>научно-исследовательских </a:t>
            </a:r>
            <a:r>
              <a:rPr lang="ru-RU" sz="2700" dirty="0" smtClean="0"/>
              <a:t>проектов</a:t>
            </a:r>
          </a:p>
          <a:p>
            <a:pPr>
              <a:spcBef>
                <a:spcPts val="0"/>
              </a:spcBef>
            </a:pPr>
            <a:r>
              <a:rPr lang="ru-RU" sz="2700" dirty="0" smtClean="0"/>
              <a:t>Осуществлено участие проектов и наставников в конкурсах</a:t>
            </a:r>
            <a:endParaRPr lang="ru-RU" sz="2700" dirty="0"/>
          </a:p>
          <a:p>
            <a:pPr>
              <a:spcBef>
                <a:spcPts val="0"/>
              </a:spcBef>
            </a:pP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b="1" dirty="0" smtClean="0">
                <a:solidFill>
                  <a:srgbClr val="00B050"/>
                </a:solidFill>
              </a:rPr>
              <a:t>ОЖИДАЕМЫЕ </a:t>
            </a:r>
            <a:r>
              <a:rPr lang="ru-RU" sz="3600" b="1" dirty="0">
                <a:solidFill>
                  <a:srgbClr val="00B050"/>
                </a:solidFill>
              </a:rPr>
              <a:t>результаты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88807700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h9EZJ7Ika.13lLpRV4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h9EZJ7Ika.13lLpRV4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7347</TotalTime>
  <Words>1362</Words>
  <Application>Microsoft Office PowerPoint</Application>
  <PresentationFormat>Произвольный</PresentationFormat>
  <Paragraphs>138</Paragraphs>
  <Slides>1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1" baseType="lpstr">
      <vt:lpstr>Office Theme</vt:lpstr>
      <vt:lpstr>Тема Office</vt:lpstr>
      <vt:lpstr>Слайд think-cell</vt:lpstr>
      <vt:lpstr>Паспорт проекта  «Межрегиональная Школа наставников научно-исследовательской деятельности школьников»     https://idea.asi.ru/improject-46/ideas/2646 </vt:lpstr>
      <vt:lpstr>Александр Васенёв.</vt:lpstr>
      <vt:lpstr>Какую проблему решает проект ? В чем ее актуальность? Каков масштаб проблемы?</vt:lpstr>
      <vt:lpstr>Какое желаемое состояние мы планируем достичь реализацией проекта? Проблема, переформулированная в позитивном ключе.</vt:lpstr>
      <vt:lpstr>Краткое описание предлагаемого решения. </vt:lpstr>
      <vt:lpstr>Научные организации Аспиранты, научные сотрудники, лабораторные площад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«Межрегиональная Школа наставников научно-исследовательской деятельности школьников»   https://idea.asi.ru/improject-46/ideas/2646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Александр Васенёв</cp:lastModifiedBy>
  <cp:revision>2414</cp:revision>
  <dcterms:created xsi:type="dcterms:W3CDTF">2015-08-29T06:24:16Z</dcterms:created>
  <dcterms:modified xsi:type="dcterms:W3CDTF">2020-09-24T16:53:16Z</dcterms:modified>
</cp:coreProperties>
</file>